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embeddings/oleObject5.bin" ContentType="application/vnd.openxmlformats-officedocument.oleObject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3" r:id="rId2"/>
  </p:sldMasterIdLst>
  <p:notesMasterIdLst>
    <p:notesMasterId r:id="rId42"/>
  </p:notesMasterIdLst>
  <p:sldIdLst>
    <p:sldId id="269" r:id="rId3"/>
    <p:sldId id="302" r:id="rId4"/>
    <p:sldId id="298" r:id="rId5"/>
    <p:sldId id="299" r:id="rId6"/>
    <p:sldId id="285" r:id="rId7"/>
    <p:sldId id="304" r:id="rId8"/>
    <p:sldId id="303" r:id="rId9"/>
    <p:sldId id="273" r:id="rId10"/>
    <p:sldId id="292" r:id="rId11"/>
    <p:sldId id="289" r:id="rId12"/>
    <p:sldId id="272" r:id="rId13"/>
    <p:sldId id="287" r:id="rId14"/>
    <p:sldId id="293" r:id="rId15"/>
    <p:sldId id="276" r:id="rId16"/>
    <p:sldId id="313" r:id="rId17"/>
    <p:sldId id="312" r:id="rId18"/>
    <p:sldId id="301" r:id="rId19"/>
    <p:sldId id="270" r:id="rId20"/>
    <p:sldId id="295" r:id="rId21"/>
    <p:sldId id="263" r:id="rId22"/>
    <p:sldId id="305" r:id="rId23"/>
    <p:sldId id="267" r:id="rId24"/>
    <p:sldId id="266" r:id="rId25"/>
    <p:sldId id="257" r:id="rId26"/>
    <p:sldId id="306" r:id="rId27"/>
    <p:sldId id="258" r:id="rId28"/>
    <p:sldId id="261" r:id="rId29"/>
    <p:sldId id="307" r:id="rId30"/>
    <p:sldId id="259" r:id="rId31"/>
    <p:sldId id="308" r:id="rId32"/>
    <p:sldId id="268" r:id="rId33"/>
    <p:sldId id="310" r:id="rId34"/>
    <p:sldId id="309" r:id="rId35"/>
    <p:sldId id="274" r:id="rId36"/>
    <p:sldId id="294" r:id="rId37"/>
    <p:sldId id="290" r:id="rId38"/>
    <p:sldId id="275" r:id="rId39"/>
    <p:sldId id="311" r:id="rId40"/>
    <p:sldId id="296" r:id="rId41"/>
  </p:sldIdLst>
  <p:sldSz cx="9144000" cy="6858000" type="screen4x3"/>
  <p:notesSz cx="6858000" cy="9144000"/>
  <p:defaultTextStyle>
    <a:defPPr>
      <a:defRPr lang="en-US"/>
    </a:defPPr>
    <a:lvl1pPr marL="0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720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432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147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862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579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294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7010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3726" algn="l" defTabSz="4567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85" d="100"/>
          <a:sy n="85" d="100"/>
        </p:scale>
        <p:origin x="-2320" y="-392"/>
      </p:cViewPr>
      <p:guideLst>
        <p:guide orient="horz" pos="2160"/>
        <p:guide pos="28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heme" Target="theme/theme1.xml"/><Relationship Id="rId47" Type="http://schemas.openxmlformats.org/officeDocument/2006/relationships/tableStyles" Target="tableStyles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slide" Target="slides/slide35.xml"/><Relationship Id="rId38" Type="http://schemas.openxmlformats.org/officeDocument/2006/relationships/slide" Target="slides/slide36.xml"/><Relationship Id="rId39" Type="http://schemas.openxmlformats.org/officeDocument/2006/relationships/slide" Target="slides/slide37.xml"/><Relationship Id="rId40" Type="http://schemas.openxmlformats.org/officeDocument/2006/relationships/slide" Target="slides/slide38.xml"/><Relationship Id="rId41" Type="http://schemas.openxmlformats.org/officeDocument/2006/relationships/slide" Target="slides/slide39.xml"/><Relationship Id="rId42" Type="http://schemas.openxmlformats.org/officeDocument/2006/relationships/notesMaster" Target="notesMasters/notesMaster1.xml"/><Relationship Id="rId43" Type="http://schemas.openxmlformats.org/officeDocument/2006/relationships/printerSettings" Target="printerSettings/printerSettings1.bin"/><Relationship Id="rId44" Type="http://schemas.openxmlformats.org/officeDocument/2006/relationships/presProps" Target="presProps.xml"/><Relationship Id="rId4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CCFFCC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[Workbook1]Sheet1!$A$4:$A$9</c:f>
              <c:numCache>
                <c:formatCode>General</c:formatCode>
                <c:ptCount val="6"/>
                <c:pt idx="0">
                  <c:v>2007.0</c:v>
                </c:pt>
                <c:pt idx="1">
                  <c:v>2008.0</c:v>
                </c:pt>
                <c:pt idx="2">
                  <c:v>2009.0</c:v>
                </c:pt>
                <c:pt idx="3">
                  <c:v>2010.0</c:v>
                </c:pt>
                <c:pt idx="4">
                  <c:v>2011.0</c:v>
                </c:pt>
                <c:pt idx="5">
                  <c:v>2012.0</c:v>
                </c:pt>
              </c:numCache>
            </c:numRef>
          </c:cat>
          <c:val>
            <c:numRef>
              <c:f>[Workbook1]Sheet1!$B$4:$B$9</c:f>
              <c:numCache>
                <c:formatCode>General</c:formatCode>
                <c:ptCount val="6"/>
                <c:pt idx="0">
                  <c:v>2.0</c:v>
                </c:pt>
                <c:pt idx="1">
                  <c:v>5.0</c:v>
                </c:pt>
                <c:pt idx="2">
                  <c:v>12.0</c:v>
                </c:pt>
                <c:pt idx="3">
                  <c:v>18.0</c:v>
                </c:pt>
                <c:pt idx="4">
                  <c:v>40.0</c:v>
                </c:pt>
                <c:pt idx="5">
                  <c:v>14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-2107803032"/>
        <c:axId val="-2107800056"/>
      </c:barChart>
      <c:catAx>
        <c:axId val="-2107803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-2107800056"/>
        <c:crosses val="autoZero"/>
        <c:auto val="1"/>
        <c:lblAlgn val="ctr"/>
        <c:lblOffset val="100"/>
        <c:tickLblSkip val="1"/>
        <c:noMultiLvlLbl val="0"/>
      </c:catAx>
      <c:valAx>
        <c:axId val="-21078000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107803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0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4" Type="http://schemas.openxmlformats.org/officeDocument/2006/relationships/image" Target="../media/image33.emf"/><Relationship Id="rId1" Type="http://schemas.openxmlformats.org/officeDocument/2006/relationships/image" Target="../media/image23.emf"/><Relationship Id="rId2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Relationship Id="rId2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Relationship Id="rId2" Type="http://schemas.openxmlformats.org/officeDocument/2006/relationships/image" Target="../media/image2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Relationship Id="rId2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Relationship Id="rId2" Type="http://schemas.openxmlformats.org/officeDocument/2006/relationships/image" Target="../media/image2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Relationship Id="rId2" Type="http://schemas.openxmlformats.org/officeDocument/2006/relationships/image" Target="../media/image2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Relationship Id="rId2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2A01E-EE28-E54B-B4A6-6B270A03FDCD}" type="datetimeFigureOut">
              <a:rPr lang="en-US" smtClean="0"/>
              <a:t>24/05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B4941E-7765-8D43-8858-3F8B008D9E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904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720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432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147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862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579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294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010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726" algn="l" defTabSz="4567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4857"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685817" indent="-263776" defTabSz="874857"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055103" indent="-211021" defTabSz="874857"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477145" indent="-211021" defTabSz="874857"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1899186" indent="-211021" defTabSz="874857"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321227" indent="-211021" defTabSz="874857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743269" indent="-211021" defTabSz="874857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165310" indent="-211021" defTabSz="874857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587351" indent="-211021" defTabSz="874857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fld id="{64619841-5A9C-E049-B69F-5A2D484D33C3}" type="slidenum">
              <a:rPr lang="en-GB" sz="1100">
                <a:latin typeface="Arial" charset="0"/>
              </a:rPr>
              <a:pPr/>
              <a:t>15</a:t>
            </a:fld>
            <a:endParaRPr lang="en-GB" sz="1100">
              <a:latin typeface="Arial" charset="0"/>
            </a:endParaRPr>
          </a:p>
        </p:txBody>
      </p:sp>
      <p:sp>
        <p:nvSpPr>
          <p:cNvPr id="124930" name="Rectangle 7"/>
          <p:cNvSpPr txBox="1">
            <a:spLocks noGrp="1" noChangeArrowheads="1"/>
          </p:cNvSpPr>
          <p:nvPr/>
        </p:nvSpPr>
        <p:spPr bwMode="gray">
          <a:xfrm>
            <a:off x="6120367" y="8748427"/>
            <a:ext cx="54440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44563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defTabSz="944563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 defTabSz="944563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 defTabSz="944563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 defTabSz="944563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fld id="{61D4D569-DF75-544F-95F5-3F67C2398652}" type="slidenum">
              <a:rPr lang="en-US">
                <a:latin typeface="Arial" charset="0"/>
              </a:rPr>
              <a:pPr algn="r" eaLnBrk="1" hangingPunct="1">
                <a:spcBef>
                  <a:spcPct val="50000"/>
                </a:spcBef>
              </a:pPr>
              <a:t>15</a:t>
            </a:fld>
            <a:endParaRPr lang="en-US">
              <a:latin typeface="Arial" charset="0"/>
            </a:endParaRPr>
          </a:p>
        </p:txBody>
      </p:sp>
      <p:sp>
        <p:nvSpPr>
          <p:cNvPr id="124931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50888" y="573088"/>
            <a:ext cx="5368925" cy="4025900"/>
          </a:xfrm>
          <a:ln/>
        </p:spPr>
      </p:sp>
      <p:sp>
        <p:nvSpPr>
          <p:cNvPr id="124932" name="Rectangle 3"/>
          <p:cNvSpPr>
            <a:spLocks noGrp="1"/>
          </p:cNvSpPr>
          <p:nvPr>
            <p:ph type="body" idx="1"/>
          </p:nvPr>
        </p:nvSpPr>
        <p:spPr>
          <a:xfrm>
            <a:off x="555143" y="4913109"/>
            <a:ext cx="5844329" cy="32905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lIns="91928" tIns="45964" rIns="91928" bIns="45964"/>
          <a:lstStyle/>
          <a:p>
            <a:pPr defTabSz="882184"/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C8051C0-760F-8546-AD3C-534B545FD0CE}" type="slidenum">
              <a:rPr lang="en-GB">
                <a:solidFill>
                  <a:prstClr val="black"/>
                </a:solidFill>
              </a:rPr>
              <a:pPr/>
              <a:t>1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241538" name="AutoShap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4063" y="574675"/>
            <a:ext cx="5357812" cy="4019550"/>
          </a:xfrm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2415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6618" y="4913691"/>
            <a:ext cx="5842992" cy="241772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02760" indent="-270292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081168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513636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1946104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378572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811039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243506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675974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329F519-6C8C-4E10-9BF4-09DC575FC930}" type="slidenum">
              <a:rPr lang="en-GB" sz="1300"/>
              <a:pPr eaLnBrk="1" hangingPunct="1"/>
              <a:t>20</a:t>
            </a:fld>
            <a:endParaRPr lang="en-GB" sz="1300"/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gray">
          <a:xfrm>
            <a:off x="6119814" y="8764029"/>
            <a:ext cx="54471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F6B8334-EFAD-44D8-8C55-18018CD8DE1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0</a:t>
            </a:fld>
            <a:endParaRPr lang="en-GB" sz="1300"/>
          </a:p>
        </p:txBody>
      </p:sp>
      <p:sp>
        <p:nvSpPr>
          <p:cNvPr id="53252" name="Rectangle 7"/>
          <p:cNvSpPr txBox="1">
            <a:spLocks noGrp="1" noChangeArrowheads="1"/>
          </p:cNvSpPr>
          <p:nvPr/>
        </p:nvSpPr>
        <p:spPr bwMode="gray">
          <a:xfrm>
            <a:off x="6118325" y="8764029"/>
            <a:ext cx="54619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E967B98-3E61-4BA9-B9F5-27B1FB06FA5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0</a:t>
            </a:fld>
            <a:endParaRPr lang="en-GB" sz="1300"/>
          </a:p>
        </p:txBody>
      </p:sp>
      <p:sp>
        <p:nvSpPr>
          <p:cNvPr id="532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0888" y="573088"/>
            <a:ext cx="5365750" cy="4025900"/>
          </a:xfrm>
          <a:ln/>
        </p:spPr>
      </p:sp>
      <p:sp>
        <p:nvSpPr>
          <p:cNvPr id="532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3640" y="4915204"/>
            <a:ext cx="5845969" cy="24177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02760" indent="-270292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081168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513636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1946104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378572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811039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243506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675974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1F497D"/>
              </a:buClr>
            </a:pPr>
            <a:fld id="{3329F519-6C8C-4E10-9BF4-09DC575FC930}" type="slidenum">
              <a:rPr lang="en-GB" sz="1300">
                <a:solidFill>
                  <a:prstClr val="black"/>
                </a:solidFill>
              </a:rPr>
              <a:pPr eaLnBrk="1" hangingPunct="1">
                <a:buClr>
                  <a:srgbClr val="1F497D"/>
                </a:buClr>
              </a:pPr>
              <a:t>24</a:t>
            </a:fld>
            <a:endParaRPr lang="en-GB" sz="1300">
              <a:solidFill>
                <a:prstClr val="black"/>
              </a:solidFill>
            </a:endParaRPr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gray">
          <a:xfrm>
            <a:off x="6119814" y="8764029"/>
            <a:ext cx="54471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F6B8334-EFAD-44D8-8C55-18018CD8DE1D}" type="slidenum">
              <a:rPr lang="en-GB" sz="1300">
                <a:solidFill>
                  <a:prstClr val="black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sz="1300">
              <a:solidFill>
                <a:prstClr val="black"/>
              </a:solidFill>
            </a:endParaRPr>
          </a:p>
        </p:txBody>
      </p:sp>
      <p:sp>
        <p:nvSpPr>
          <p:cNvPr id="53252" name="Rectangle 7"/>
          <p:cNvSpPr txBox="1">
            <a:spLocks noGrp="1" noChangeArrowheads="1"/>
          </p:cNvSpPr>
          <p:nvPr/>
        </p:nvSpPr>
        <p:spPr bwMode="gray">
          <a:xfrm>
            <a:off x="6118325" y="8764029"/>
            <a:ext cx="54619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5E967B98-3E61-4BA9-B9F5-27B1FB06FA5D}" type="slidenum">
              <a:rPr lang="en-GB" sz="1300">
                <a:solidFill>
                  <a:prstClr val="black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sz="1300">
              <a:solidFill>
                <a:prstClr val="black"/>
              </a:solidFill>
            </a:endParaRPr>
          </a:p>
        </p:txBody>
      </p:sp>
      <p:sp>
        <p:nvSpPr>
          <p:cNvPr id="532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0888" y="573088"/>
            <a:ext cx="5365750" cy="4025900"/>
          </a:xfrm>
          <a:ln/>
        </p:spPr>
      </p:sp>
      <p:sp>
        <p:nvSpPr>
          <p:cNvPr id="532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3640" y="4915204"/>
            <a:ext cx="5845969" cy="24177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02760" indent="-270292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081168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513636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1946104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378572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811039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243506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675974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329F519-6C8C-4E10-9BF4-09DC575FC930}" type="slidenum">
              <a:rPr lang="en-GB" sz="1300"/>
              <a:pPr eaLnBrk="1" hangingPunct="1"/>
              <a:t>26</a:t>
            </a:fld>
            <a:endParaRPr lang="en-GB" sz="1300"/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gray">
          <a:xfrm>
            <a:off x="6119814" y="8764029"/>
            <a:ext cx="54471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F6B8334-EFAD-44D8-8C55-18018CD8DE1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6</a:t>
            </a:fld>
            <a:endParaRPr lang="en-GB" sz="1300"/>
          </a:p>
        </p:txBody>
      </p:sp>
      <p:sp>
        <p:nvSpPr>
          <p:cNvPr id="53252" name="Rectangle 7"/>
          <p:cNvSpPr txBox="1">
            <a:spLocks noGrp="1" noChangeArrowheads="1"/>
          </p:cNvSpPr>
          <p:nvPr/>
        </p:nvSpPr>
        <p:spPr bwMode="gray">
          <a:xfrm>
            <a:off x="6118325" y="8764029"/>
            <a:ext cx="54619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E967B98-3E61-4BA9-B9F5-27B1FB06FA5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6</a:t>
            </a:fld>
            <a:endParaRPr lang="en-GB" sz="1300"/>
          </a:p>
        </p:txBody>
      </p:sp>
      <p:sp>
        <p:nvSpPr>
          <p:cNvPr id="532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0888" y="573088"/>
            <a:ext cx="5365750" cy="4025900"/>
          </a:xfrm>
          <a:ln/>
        </p:spPr>
      </p:sp>
      <p:sp>
        <p:nvSpPr>
          <p:cNvPr id="532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3640" y="4915204"/>
            <a:ext cx="5845969" cy="24177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02760" indent="-270292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081168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513636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1946104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378572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811039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243506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675974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329F519-6C8C-4E10-9BF4-09DC575FC930}" type="slidenum">
              <a:rPr lang="en-GB" sz="1300"/>
              <a:pPr eaLnBrk="1" hangingPunct="1"/>
              <a:t>27</a:t>
            </a:fld>
            <a:endParaRPr lang="en-GB" sz="1300"/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gray">
          <a:xfrm>
            <a:off x="6119814" y="8764029"/>
            <a:ext cx="54471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F6B8334-EFAD-44D8-8C55-18018CD8DE1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7</a:t>
            </a:fld>
            <a:endParaRPr lang="en-GB" sz="1300"/>
          </a:p>
        </p:txBody>
      </p:sp>
      <p:sp>
        <p:nvSpPr>
          <p:cNvPr id="53252" name="Rectangle 7"/>
          <p:cNvSpPr txBox="1">
            <a:spLocks noGrp="1" noChangeArrowheads="1"/>
          </p:cNvSpPr>
          <p:nvPr/>
        </p:nvSpPr>
        <p:spPr bwMode="gray">
          <a:xfrm>
            <a:off x="6118325" y="8764029"/>
            <a:ext cx="54619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E967B98-3E61-4BA9-B9F5-27B1FB06FA5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7</a:t>
            </a:fld>
            <a:endParaRPr lang="en-GB" sz="1300"/>
          </a:p>
        </p:txBody>
      </p:sp>
      <p:sp>
        <p:nvSpPr>
          <p:cNvPr id="532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0888" y="573088"/>
            <a:ext cx="5365750" cy="4025900"/>
          </a:xfrm>
          <a:ln/>
        </p:spPr>
      </p:sp>
      <p:sp>
        <p:nvSpPr>
          <p:cNvPr id="532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3640" y="4915204"/>
            <a:ext cx="5845969" cy="24177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02760" indent="-270292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081168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513636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1946104" indent="-216234" defTabSz="908483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378572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811039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243506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675974" indent="-216234" defTabSz="90848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329F519-6C8C-4E10-9BF4-09DC575FC930}" type="slidenum">
              <a:rPr lang="en-GB" sz="1300"/>
              <a:pPr eaLnBrk="1" hangingPunct="1"/>
              <a:t>29</a:t>
            </a:fld>
            <a:endParaRPr lang="en-GB" sz="1300"/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gray">
          <a:xfrm>
            <a:off x="6119814" y="8764029"/>
            <a:ext cx="54471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F6B8334-EFAD-44D8-8C55-18018CD8DE1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9</a:t>
            </a:fld>
            <a:endParaRPr lang="en-GB" sz="1300"/>
          </a:p>
        </p:txBody>
      </p:sp>
      <p:sp>
        <p:nvSpPr>
          <p:cNvPr id="53252" name="Rectangle 7"/>
          <p:cNvSpPr txBox="1">
            <a:spLocks noGrp="1" noChangeArrowheads="1"/>
          </p:cNvSpPr>
          <p:nvPr/>
        </p:nvSpPr>
        <p:spPr bwMode="gray">
          <a:xfrm>
            <a:off x="6118325" y="8764029"/>
            <a:ext cx="54619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E967B98-3E61-4BA9-B9F5-27B1FB06FA5D}" type="slidenum">
              <a:rPr lang="en-GB" sz="1300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9</a:t>
            </a:fld>
            <a:endParaRPr lang="en-GB" sz="1300"/>
          </a:p>
        </p:txBody>
      </p:sp>
      <p:sp>
        <p:nvSpPr>
          <p:cNvPr id="532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0888" y="573088"/>
            <a:ext cx="5365750" cy="4025900"/>
          </a:xfrm>
          <a:ln/>
        </p:spPr>
      </p:sp>
      <p:sp>
        <p:nvSpPr>
          <p:cNvPr id="532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3640" y="4915204"/>
            <a:ext cx="5845969" cy="24177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50000"/>
              </a:spcBef>
              <a:spcAft>
                <a:spcPct val="50000"/>
              </a:spcAft>
              <a:buClr>
                <a:srgbClr val="000000"/>
              </a:buClr>
              <a:buSzPct val="125000"/>
              <a:buFont typeface="Arial" charset="0"/>
              <a:buChar char="▪"/>
              <a:defRPr/>
            </a:pPr>
            <a:endParaRPr lang="en-US" smtClean="0">
              <a:solidFill>
                <a:srgbClr val="000000"/>
              </a:solidFill>
            </a:endParaRP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11" y="11"/>
            <a:ext cx="9140760" cy="6859620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43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smtClean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43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smtClean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33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800">
                  <a:solidFill>
                    <a:srgbClr val="000000"/>
                  </a:solidFill>
                  <a:latin typeface="Arial" charset="0"/>
                </a:rPr>
                <a:t>CONFIDENTIAL AND PROPRIETARY</a:t>
              </a:r>
            </a:p>
            <a:p>
              <a:pPr defTabSz="82033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800">
                  <a:solidFill>
                    <a:srgbClr val="000000"/>
                  </a:solidFill>
                  <a:latin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</a:pPr>
              <a:endParaRPr lang="en-US" sz="20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</a:pPr>
              <a:endParaRPr lang="en-US" sz="20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</a:pPr>
              <a:endParaRPr lang="en-US" sz="200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0" y="6574556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8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GB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63806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7FCACE-E8BF-46C9-9B56-E1794130C9E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0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840" y="234874"/>
            <a:ext cx="584775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74"/>
            <a:ext cx="644048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D936C-732D-4235-AD05-9CD602E2B0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84125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Clr>
                <a:schemeClr val="accent1"/>
              </a:buClr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>
                <a:schemeClr val="accent1"/>
              </a:buClr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buClr>
                <a:schemeClr val="accent1"/>
              </a:buCl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1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044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5" y="2130848"/>
            <a:ext cx="7773293" cy="14700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5" y="3886647"/>
            <a:ext cx="6400353" cy="1752451"/>
          </a:xfrm>
          <a:prstGeom prst="rect">
            <a:avLst/>
          </a:prstGeom>
        </p:spPr>
        <p:txBody>
          <a:bodyPr vert="horz" lIns="64290" tIns="32146" rIns="64290" bIns="32146"/>
          <a:lstStyle>
            <a:lvl1pPr marL="0" indent="0" algn="ctr">
              <a:buNone/>
              <a:defRPr/>
            </a:lvl1pPr>
            <a:lvl2pPr marL="321453" indent="0" algn="ctr">
              <a:buNone/>
              <a:defRPr/>
            </a:lvl2pPr>
            <a:lvl3pPr marL="642904" indent="0" algn="ctr">
              <a:buNone/>
              <a:defRPr/>
            </a:lvl3pPr>
            <a:lvl4pPr marL="964357" indent="0" algn="ctr">
              <a:buNone/>
              <a:defRPr/>
            </a:lvl4pPr>
            <a:lvl5pPr marL="1285809" indent="0" algn="ctr">
              <a:buNone/>
              <a:defRPr/>
            </a:lvl5pPr>
            <a:lvl6pPr marL="1607261" indent="0" algn="ctr">
              <a:buNone/>
              <a:defRPr/>
            </a:lvl6pPr>
            <a:lvl7pPr marL="1928713" indent="0" algn="ctr">
              <a:buNone/>
              <a:defRPr/>
            </a:lvl7pPr>
            <a:lvl8pPr marL="2250166" indent="0" algn="ctr">
              <a:buNone/>
              <a:defRPr/>
            </a:lvl8pPr>
            <a:lvl9pPr marL="2571617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519607"/>
      </p:ext>
    </p:extLst>
  </p:cSld>
  <p:clrMapOvr>
    <a:masterClrMapping/>
  </p:clrMapOvr>
  <p:transition xmlns:p14="http://schemas.microsoft.com/office/powerpoint/2010/main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648" y="1600647"/>
            <a:ext cx="8228707" cy="4525119"/>
          </a:xfrm>
          <a:prstGeom prst="rect">
            <a:avLst/>
          </a:prstGeom>
        </p:spPr>
        <p:txBody>
          <a:bodyPr vert="horz" lIns="64290" tIns="32146" rIns="64290" bIns="3214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69868"/>
      </p:ext>
    </p:extLst>
  </p:cSld>
  <p:clrMapOvr>
    <a:masterClrMapping/>
  </p:clrMapOvr>
  <p:transition xmlns:p14="http://schemas.microsoft.com/office/powerpoint/2010/main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1"/>
            <a:ext cx="7772176" cy="1361777"/>
          </a:xfrm>
        </p:spPr>
        <p:txBody>
          <a:bodyPr anchor="t"/>
          <a:lstStyle>
            <a:lvl1pPr algn="l">
              <a:defRPr sz="29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4"/>
            <a:ext cx="7772176" cy="1500188"/>
          </a:xfrm>
          <a:prstGeom prst="rect">
            <a:avLst/>
          </a:prstGeom>
        </p:spPr>
        <p:txBody>
          <a:bodyPr vert="horz" lIns="64290" tIns="32146" rIns="64290" bIns="32146" anchor="b"/>
          <a:lstStyle>
            <a:lvl1pPr marL="0" indent="0">
              <a:buNone/>
              <a:defRPr sz="1400"/>
            </a:lvl1pPr>
            <a:lvl2pPr marL="321453" indent="0">
              <a:buNone/>
              <a:defRPr sz="1200"/>
            </a:lvl2pPr>
            <a:lvl3pPr marL="642904" indent="0">
              <a:buNone/>
              <a:defRPr sz="1100"/>
            </a:lvl3pPr>
            <a:lvl4pPr marL="964357" indent="0">
              <a:buNone/>
              <a:defRPr sz="1000"/>
            </a:lvl4pPr>
            <a:lvl5pPr marL="1285809" indent="0">
              <a:buNone/>
              <a:defRPr sz="1000"/>
            </a:lvl5pPr>
            <a:lvl6pPr marL="1607261" indent="0">
              <a:buNone/>
              <a:defRPr sz="1000"/>
            </a:lvl6pPr>
            <a:lvl7pPr marL="1928713" indent="0">
              <a:buNone/>
              <a:defRPr sz="1000"/>
            </a:lvl7pPr>
            <a:lvl8pPr marL="2250166" indent="0">
              <a:buNone/>
              <a:defRPr sz="1000"/>
            </a:lvl8pPr>
            <a:lvl9pPr marL="257161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7378444"/>
      </p:ext>
    </p:extLst>
  </p:cSld>
  <p:clrMapOvr>
    <a:masterClrMapping/>
  </p:clrMapOvr>
  <p:transition xmlns:p14="http://schemas.microsoft.com/office/powerpoint/2010/main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648" y="1600647"/>
            <a:ext cx="4060775" cy="4525119"/>
          </a:xfrm>
          <a:prstGeom prst="rect">
            <a:avLst/>
          </a:prstGeom>
        </p:spPr>
        <p:txBody>
          <a:bodyPr vert="horz" lIns="64290" tIns="32146" rIns="64290" bIns="32146"/>
          <a:lstStyle>
            <a:lvl1pPr>
              <a:defRPr sz="1900"/>
            </a:lvl1pPr>
            <a:lvl2pPr>
              <a:defRPr sz="17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9" y="1600647"/>
            <a:ext cx="4060775" cy="4525119"/>
          </a:xfrm>
          <a:prstGeom prst="rect">
            <a:avLst/>
          </a:prstGeom>
        </p:spPr>
        <p:txBody>
          <a:bodyPr vert="horz" lIns="64290" tIns="32146" rIns="64290" bIns="32146"/>
          <a:lstStyle>
            <a:lvl1pPr>
              <a:defRPr sz="1900"/>
            </a:lvl1pPr>
            <a:lvl2pPr>
              <a:defRPr sz="17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859945"/>
      </p:ext>
    </p:extLst>
  </p:cSld>
  <p:clrMapOvr>
    <a:masterClrMapping/>
  </p:clrMapOvr>
  <p:transition xmlns:p14="http://schemas.microsoft.com/office/powerpoint/2010/main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8" y="274587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0"/>
            <a:ext cx="4039568" cy="639589"/>
          </a:xfrm>
          <a:prstGeom prst="rect">
            <a:avLst/>
          </a:prstGeom>
        </p:spPr>
        <p:txBody>
          <a:bodyPr vert="horz" lIns="64290" tIns="32146" rIns="64290" bIns="32146" anchor="b"/>
          <a:lstStyle>
            <a:lvl1pPr marL="0" indent="0">
              <a:buNone/>
              <a:defRPr sz="1700" b="1"/>
            </a:lvl1pPr>
            <a:lvl2pPr marL="321453" indent="0">
              <a:buNone/>
              <a:defRPr sz="1400" b="1"/>
            </a:lvl2pPr>
            <a:lvl3pPr marL="642904" indent="0">
              <a:buNone/>
              <a:defRPr sz="1200" b="1"/>
            </a:lvl3pPr>
            <a:lvl4pPr marL="964357" indent="0">
              <a:buNone/>
              <a:defRPr sz="1100" b="1"/>
            </a:lvl4pPr>
            <a:lvl5pPr marL="1285809" indent="0">
              <a:buNone/>
              <a:defRPr sz="1100" b="1"/>
            </a:lvl5pPr>
            <a:lvl6pPr marL="1607261" indent="0">
              <a:buNone/>
              <a:defRPr sz="1100" b="1"/>
            </a:lvl6pPr>
            <a:lvl7pPr marL="1928713" indent="0">
              <a:buNone/>
              <a:defRPr sz="1100" b="1"/>
            </a:lvl7pPr>
            <a:lvl8pPr marL="2250166" indent="0">
              <a:buNone/>
              <a:defRPr sz="1100" b="1"/>
            </a:lvl8pPr>
            <a:lvl9pPr marL="2571617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80"/>
            <a:ext cx="4039568" cy="3951387"/>
          </a:xfrm>
          <a:prstGeom prst="rect">
            <a:avLst/>
          </a:prstGeom>
        </p:spPr>
        <p:txBody>
          <a:bodyPr vert="horz" lIns="64290" tIns="32146" rIns="64290" bIns="32146"/>
          <a:lstStyle>
            <a:lvl1pPr>
              <a:defRPr sz="17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0"/>
            <a:ext cx="4041799" cy="639589"/>
          </a:xfrm>
          <a:prstGeom prst="rect">
            <a:avLst/>
          </a:prstGeom>
        </p:spPr>
        <p:txBody>
          <a:bodyPr vert="horz" lIns="64290" tIns="32146" rIns="64290" bIns="32146" anchor="b"/>
          <a:lstStyle>
            <a:lvl1pPr marL="0" indent="0">
              <a:buNone/>
              <a:defRPr sz="1700" b="1"/>
            </a:lvl1pPr>
            <a:lvl2pPr marL="321453" indent="0">
              <a:buNone/>
              <a:defRPr sz="1400" b="1"/>
            </a:lvl2pPr>
            <a:lvl3pPr marL="642904" indent="0">
              <a:buNone/>
              <a:defRPr sz="1200" b="1"/>
            </a:lvl3pPr>
            <a:lvl4pPr marL="964357" indent="0">
              <a:buNone/>
              <a:defRPr sz="1100" b="1"/>
            </a:lvl4pPr>
            <a:lvl5pPr marL="1285809" indent="0">
              <a:buNone/>
              <a:defRPr sz="1100" b="1"/>
            </a:lvl5pPr>
            <a:lvl6pPr marL="1607261" indent="0">
              <a:buNone/>
              <a:defRPr sz="1100" b="1"/>
            </a:lvl6pPr>
            <a:lvl7pPr marL="1928713" indent="0">
              <a:buNone/>
              <a:defRPr sz="1100" b="1"/>
            </a:lvl7pPr>
            <a:lvl8pPr marL="2250166" indent="0">
              <a:buNone/>
              <a:defRPr sz="1100" b="1"/>
            </a:lvl8pPr>
            <a:lvl9pPr marL="2571617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80"/>
            <a:ext cx="4041799" cy="3951387"/>
          </a:xfrm>
          <a:prstGeom prst="rect">
            <a:avLst/>
          </a:prstGeom>
        </p:spPr>
        <p:txBody>
          <a:bodyPr vert="horz" lIns="64290" tIns="32146" rIns="64290" bIns="32146"/>
          <a:lstStyle>
            <a:lvl1pPr>
              <a:defRPr sz="17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623441"/>
      </p:ext>
    </p:extLst>
  </p:cSld>
  <p:clrMapOvr>
    <a:masterClrMapping/>
  </p:clrMapOvr>
  <p:transition xmlns:p14="http://schemas.microsoft.com/office/powerpoint/2010/main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890485"/>
      </p:ext>
    </p:extLst>
  </p:cSld>
  <p:clrMapOvr>
    <a:masterClrMapping/>
  </p:clrMapOvr>
  <p:transition xmlns:p14="http://schemas.microsoft.com/office/powerpoint/2010/main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6812525"/>
      </p:ext>
    </p:extLst>
  </p:cSld>
  <p:clrMapOvr>
    <a:masterClrMapping/>
  </p:clrMapOvr>
  <p:transition xmlns:p14="http://schemas.microsoft.com/office/powerpoint/2010/main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F2662-8A9C-4CB0-BFA7-CA7BE5EAF0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93561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3473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5" y="273472"/>
            <a:ext cx="5111130" cy="5852294"/>
          </a:xfrm>
          <a:prstGeom prst="rect">
            <a:avLst/>
          </a:prstGeom>
        </p:spPr>
        <p:txBody>
          <a:bodyPr vert="horz" lIns="64290" tIns="32146" rIns="64290" bIns="32146"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7" y="1435448"/>
            <a:ext cx="3008189" cy="4690318"/>
          </a:xfrm>
          <a:prstGeom prst="rect">
            <a:avLst/>
          </a:prstGeom>
        </p:spPr>
        <p:txBody>
          <a:bodyPr vert="horz" lIns="64290" tIns="32146" rIns="64290" bIns="32146"/>
          <a:lstStyle>
            <a:lvl1pPr marL="0" indent="0">
              <a:buNone/>
              <a:defRPr sz="1000"/>
            </a:lvl1pPr>
            <a:lvl2pPr marL="321453" indent="0">
              <a:buNone/>
              <a:defRPr sz="800"/>
            </a:lvl2pPr>
            <a:lvl3pPr marL="642904" indent="0">
              <a:buNone/>
              <a:defRPr sz="700"/>
            </a:lvl3pPr>
            <a:lvl4pPr marL="964357" indent="0">
              <a:buNone/>
              <a:defRPr sz="600"/>
            </a:lvl4pPr>
            <a:lvl5pPr marL="1285809" indent="0">
              <a:buNone/>
              <a:defRPr sz="600"/>
            </a:lvl5pPr>
            <a:lvl6pPr marL="1607261" indent="0">
              <a:buNone/>
              <a:defRPr sz="600"/>
            </a:lvl6pPr>
            <a:lvl7pPr marL="1928713" indent="0">
              <a:buNone/>
              <a:defRPr sz="600"/>
            </a:lvl7pPr>
            <a:lvl8pPr marL="2250166" indent="0">
              <a:buNone/>
              <a:defRPr sz="600"/>
            </a:lvl8pPr>
            <a:lvl9pPr marL="2571617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538663"/>
      </p:ext>
    </p:extLst>
  </p:cSld>
  <p:clrMapOvr>
    <a:masterClrMapping/>
  </p:clrMapOvr>
  <p:transition xmlns:p14="http://schemas.microsoft.com/office/powerpoint/2010/main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5" y="4800825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5" y="612801"/>
            <a:ext cx="5486177" cy="4114353"/>
          </a:xfrm>
          <a:prstGeom prst="rect">
            <a:avLst/>
          </a:prstGeom>
        </p:spPr>
        <p:txBody>
          <a:bodyPr vert="horz" lIns="64290" tIns="32146" rIns="64290" bIns="32146"/>
          <a:lstStyle>
            <a:lvl1pPr marL="0" indent="0">
              <a:buNone/>
              <a:defRPr sz="2200"/>
            </a:lvl1pPr>
            <a:lvl2pPr marL="321453" indent="0">
              <a:buNone/>
              <a:defRPr sz="1900"/>
            </a:lvl2pPr>
            <a:lvl3pPr marL="642904" indent="0">
              <a:buNone/>
              <a:defRPr sz="1700"/>
            </a:lvl3pPr>
            <a:lvl4pPr marL="964357" indent="0">
              <a:buNone/>
              <a:defRPr sz="1400"/>
            </a:lvl4pPr>
            <a:lvl5pPr marL="1285809" indent="0">
              <a:buNone/>
              <a:defRPr sz="1400"/>
            </a:lvl5pPr>
            <a:lvl6pPr marL="1607261" indent="0">
              <a:buNone/>
              <a:defRPr sz="1400"/>
            </a:lvl6pPr>
            <a:lvl7pPr marL="1928713" indent="0">
              <a:buNone/>
              <a:defRPr sz="1400"/>
            </a:lvl7pPr>
            <a:lvl8pPr marL="2250166" indent="0">
              <a:buNone/>
              <a:defRPr sz="1400"/>
            </a:lvl8pPr>
            <a:lvl9pPr marL="2571617" indent="0">
              <a:buNone/>
              <a:defRPr sz="1400"/>
            </a:lvl9pPr>
          </a:lstStyle>
          <a:p>
            <a:pPr lvl="0"/>
            <a:endParaRPr lang="en-US" noProof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5" y="5367859"/>
            <a:ext cx="5486177" cy="804787"/>
          </a:xfrm>
          <a:prstGeom prst="rect">
            <a:avLst/>
          </a:prstGeom>
        </p:spPr>
        <p:txBody>
          <a:bodyPr vert="horz" lIns="64290" tIns="32146" rIns="64290" bIns="32146"/>
          <a:lstStyle>
            <a:lvl1pPr marL="0" indent="0">
              <a:buNone/>
              <a:defRPr sz="1000"/>
            </a:lvl1pPr>
            <a:lvl2pPr marL="321453" indent="0">
              <a:buNone/>
              <a:defRPr sz="800"/>
            </a:lvl2pPr>
            <a:lvl3pPr marL="642904" indent="0">
              <a:buNone/>
              <a:defRPr sz="700"/>
            </a:lvl3pPr>
            <a:lvl4pPr marL="964357" indent="0">
              <a:buNone/>
              <a:defRPr sz="600"/>
            </a:lvl4pPr>
            <a:lvl5pPr marL="1285809" indent="0">
              <a:buNone/>
              <a:defRPr sz="600"/>
            </a:lvl5pPr>
            <a:lvl6pPr marL="1607261" indent="0">
              <a:buNone/>
              <a:defRPr sz="600"/>
            </a:lvl6pPr>
            <a:lvl7pPr marL="1928713" indent="0">
              <a:buNone/>
              <a:defRPr sz="600"/>
            </a:lvl7pPr>
            <a:lvl8pPr marL="2250166" indent="0">
              <a:buNone/>
              <a:defRPr sz="600"/>
            </a:lvl8pPr>
            <a:lvl9pPr marL="2571617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0475952"/>
      </p:ext>
    </p:extLst>
  </p:cSld>
  <p:clrMapOvr>
    <a:masterClrMapping/>
  </p:clrMapOvr>
  <p:transition xmlns:p14="http://schemas.microsoft.com/office/powerpoint/2010/main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648" y="1600647"/>
            <a:ext cx="8228707" cy="4525119"/>
          </a:xfrm>
          <a:prstGeom prst="rect">
            <a:avLst/>
          </a:prstGeom>
        </p:spPr>
        <p:txBody>
          <a:bodyPr vert="eaVert" lIns="64290" tIns="32146" rIns="64290" bIns="3214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17349"/>
      </p:ext>
    </p:extLst>
  </p:cSld>
  <p:clrMapOvr>
    <a:masterClrMapping/>
  </p:clrMapOvr>
  <p:transition xmlns:p14="http://schemas.microsoft.com/office/powerpoint/2010/main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177" y="1600647"/>
            <a:ext cx="2057176" cy="4525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646" y="1600647"/>
            <a:ext cx="6064375" cy="4525119"/>
          </a:xfrm>
          <a:prstGeom prst="rect">
            <a:avLst/>
          </a:prstGeom>
        </p:spPr>
        <p:txBody>
          <a:bodyPr vert="eaVert" lIns="64290" tIns="32146" rIns="64290" bIns="3214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371300"/>
      </p:ext>
    </p:extLst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9" y="4407334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5981" indent="0">
              <a:buNone/>
              <a:defRPr sz="1800"/>
            </a:lvl2pPr>
            <a:lvl3pPr marL="931977" indent="0">
              <a:buNone/>
              <a:defRPr sz="1600"/>
            </a:lvl3pPr>
            <a:lvl4pPr marL="1397963" indent="0">
              <a:buNone/>
              <a:defRPr sz="1400"/>
            </a:lvl4pPr>
            <a:lvl5pPr marL="1863946" indent="0">
              <a:buNone/>
              <a:defRPr sz="1400"/>
            </a:lvl5pPr>
            <a:lvl6pPr marL="2329935" indent="0">
              <a:buNone/>
              <a:defRPr sz="1400"/>
            </a:lvl6pPr>
            <a:lvl7pPr marL="2795922" indent="0">
              <a:buNone/>
              <a:defRPr sz="1400"/>
            </a:lvl7pPr>
            <a:lvl8pPr marL="3261907" indent="0">
              <a:buNone/>
              <a:defRPr sz="1400"/>
            </a:lvl8pPr>
            <a:lvl9pPr marL="3727895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A97485-626D-4E3E-9B7E-675F74BA790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130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65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1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A7BCB-5F75-4A9B-A36F-E4279EF4CD2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15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66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06" y="153552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5981" indent="0">
              <a:buNone/>
              <a:defRPr sz="2000" b="1"/>
            </a:lvl2pPr>
            <a:lvl3pPr marL="931977" indent="0">
              <a:buNone/>
              <a:defRPr sz="1800" b="1"/>
            </a:lvl3pPr>
            <a:lvl4pPr marL="1397963" indent="0">
              <a:buNone/>
              <a:defRPr sz="1600" b="1"/>
            </a:lvl4pPr>
            <a:lvl5pPr marL="1863946" indent="0">
              <a:buNone/>
              <a:defRPr sz="1600" b="1"/>
            </a:lvl5pPr>
            <a:lvl6pPr marL="2329935" indent="0">
              <a:buNone/>
              <a:defRPr sz="1600" b="1"/>
            </a:lvl6pPr>
            <a:lvl7pPr marL="2795922" indent="0">
              <a:buNone/>
              <a:defRPr sz="1600" b="1"/>
            </a:lvl7pPr>
            <a:lvl8pPr marL="3261907" indent="0">
              <a:buNone/>
              <a:defRPr sz="1600" b="1"/>
            </a:lvl8pPr>
            <a:lvl9pPr marL="372789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0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5981" indent="0">
              <a:buNone/>
              <a:defRPr sz="2000" b="1"/>
            </a:lvl2pPr>
            <a:lvl3pPr marL="931977" indent="0">
              <a:buNone/>
              <a:defRPr sz="1800" b="1"/>
            </a:lvl3pPr>
            <a:lvl4pPr marL="1397963" indent="0">
              <a:buNone/>
              <a:defRPr sz="1600" b="1"/>
            </a:lvl4pPr>
            <a:lvl5pPr marL="1863946" indent="0">
              <a:buNone/>
              <a:defRPr sz="1600" b="1"/>
            </a:lvl5pPr>
            <a:lvl6pPr marL="2329935" indent="0">
              <a:buNone/>
              <a:defRPr sz="1600" b="1"/>
            </a:lvl6pPr>
            <a:lvl7pPr marL="2795922" indent="0">
              <a:buNone/>
              <a:defRPr sz="1600" b="1"/>
            </a:lvl7pPr>
            <a:lvl8pPr marL="3261907" indent="0">
              <a:buNone/>
              <a:defRPr sz="1600" b="1"/>
            </a:lvl8pPr>
            <a:lvl9pPr marL="372789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E3C047-B10B-48C2-8AE0-066A755F07C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466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F2D87D-33F2-4654-A754-63051A9F17E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6754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ED1DB-3113-4AF8-8331-E4EA6A19B2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1269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50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45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5981" indent="0">
              <a:buNone/>
              <a:defRPr sz="1200"/>
            </a:lvl2pPr>
            <a:lvl3pPr marL="931977" indent="0">
              <a:buNone/>
              <a:defRPr sz="1000"/>
            </a:lvl3pPr>
            <a:lvl4pPr marL="1397963" indent="0">
              <a:buNone/>
              <a:defRPr sz="900"/>
            </a:lvl4pPr>
            <a:lvl5pPr marL="1863946" indent="0">
              <a:buNone/>
              <a:defRPr sz="900"/>
            </a:lvl5pPr>
            <a:lvl6pPr marL="2329935" indent="0">
              <a:buNone/>
              <a:defRPr sz="900"/>
            </a:lvl6pPr>
            <a:lvl7pPr marL="2795922" indent="0">
              <a:buNone/>
              <a:defRPr sz="900"/>
            </a:lvl7pPr>
            <a:lvl8pPr marL="3261907" indent="0">
              <a:buNone/>
              <a:defRPr sz="900"/>
            </a:lvl8pPr>
            <a:lvl9pPr marL="372789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931AC-7F80-417F-936F-84505171AB6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2643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11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5981" indent="0">
              <a:buNone/>
              <a:defRPr sz="2900"/>
            </a:lvl2pPr>
            <a:lvl3pPr marL="931977" indent="0">
              <a:buNone/>
              <a:defRPr sz="2400"/>
            </a:lvl3pPr>
            <a:lvl4pPr marL="1397963" indent="0">
              <a:buNone/>
              <a:defRPr sz="2000"/>
            </a:lvl4pPr>
            <a:lvl5pPr marL="1863946" indent="0">
              <a:buNone/>
              <a:defRPr sz="2000"/>
            </a:lvl5pPr>
            <a:lvl6pPr marL="2329935" indent="0">
              <a:buNone/>
              <a:defRPr sz="2000"/>
            </a:lvl6pPr>
            <a:lvl7pPr marL="2795922" indent="0">
              <a:buNone/>
              <a:defRPr sz="2000"/>
            </a:lvl7pPr>
            <a:lvl8pPr marL="3261907" indent="0">
              <a:buNone/>
              <a:defRPr sz="2000"/>
            </a:lvl8pPr>
            <a:lvl9pPr marL="3727895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5981" indent="0">
              <a:buNone/>
              <a:defRPr sz="1200"/>
            </a:lvl2pPr>
            <a:lvl3pPr marL="931977" indent="0">
              <a:buNone/>
              <a:defRPr sz="1000"/>
            </a:lvl3pPr>
            <a:lvl4pPr marL="1397963" indent="0">
              <a:buNone/>
              <a:defRPr sz="900"/>
            </a:lvl4pPr>
            <a:lvl5pPr marL="1863946" indent="0">
              <a:buNone/>
              <a:defRPr sz="900"/>
            </a:lvl5pPr>
            <a:lvl6pPr marL="2329935" indent="0">
              <a:buNone/>
              <a:defRPr sz="900"/>
            </a:lvl6pPr>
            <a:lvl7pPr marL="2795922" indent="0">
              <a:buNone/>
              <a:defRPr sz="900"/>
            </a:lvl7pPr>
            <a:lvl8pPr marL="3261907" indent="0">
              <a:buNone/>
              <a:defRPr sz="900"/>
            </a:lvl8pPr>
            <a:lvl9pPr marL="372789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BB8FE0-FDC9-4FC8-8108-B86BA360CA7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855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9" y="234874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solidFill>
                  <a:srgbClr val="808080"/>
                </a:solidFill>
                <a:latin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defRPr/>
            </a:pPr>
            <a:r>
              <a:rPr lang="en-GB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29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defRPr/>
              </a:pPr>
              <a:r>
                <a:rPr lang="en-GB" sz="1000" smtClean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03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316" indent="-621316" defTabSz="912556" fontAlgn="base">
                <a:spcBef>
                  <a:spcPct val="0"/>
                </a:spcBef>
                <a:spcAft>
                  <a:spcPct val="0"/>
                </a:spcAft>
                <a:tabLst>
                  <a:tab pos="624551" algn="l"/>
                </a:tabLst>
              </a:pPr>
              <a:r>
                <a:rPr lang="en-GB" sz="1000">
                  <a:solidFill>
                    <a:srgbClr val="000000"/>
                  </a:solidFill>
                  <a:latin typeface="Arial" charset="0"/>
                </a:rPr>
                <a:t>SOURCE: Source</a:t>
              </a:r>
            </a:p>
          </p:txBody>
        </p:sp>
      </p:grp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034" name="AutoShape 249" hidden="1"/>
            <p:cNvCxnSpPr>
              <a:cxnSpLocks noChangeShapeType="1"/>
              <a:stCxn id="1035" idx="4"/>
              <a:endCxn id="103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5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7" anchor="b">
              <a:spAutoFit/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1031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endParaRPr lang="en-US" sz="2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976653" y="6606951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186" tIns="46595" rIns="93186" bIns="46595" numCol="1" anchor="ctr" anchorCtr="0" compatLnSpc="1">
            <a:prstTxWarp prst="textNoShape">
              <a:avLst/>
            </a:prstTxWarp>
          </a:bodyPr>
          <a:lstStyle>
            <a:lvl1pPr algn="r" defTabSz="930353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rgbClr val="898989"/>
                </a:solidFill>
                <a:latin typeface="Calibri" pitchFamily="34" charset="0"/>
                <a:cs typeface="Arial" charset="0"/>
              </a:defRPr>
            </a:lvl1pPr>
          </a:lstStyle>
          <a:p>
            <a:pPr fontAlgn="base">
              <a:defRPr/>
            </a:pPr>
            <a:fld id="{F26BA542-90D0-46B1-AAF3-72F77130497C}" type="slidenum">
              <a:rPr lang="en-GB"/>
              <a:pPr fontAlgn="base"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534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25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5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5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5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5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981" algn="l" defTabSz="91255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977" algn="l" defTabSz="91255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963" algn="l" defTabSz="91255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946" algn="l" defTabSz="91255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489" indent="-349489" algn="l" defTabSz="91255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398" indent="-195781" algn="l" defTabSz="9125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981" indent="-266972" algn="l" defTabSz="9125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171" indent="-158566" algn="l" defTabSz="9125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465" indent="-132677" algn="l" defTabSz="9125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452" indent="-132677" algn="l" defTabSz="91255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2440" indent="-132677" algn="l" defTabSz="91255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8425" indent="-132677" algn="l" defTabSz="91255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4413" indent="-132677" algn="l" defTabSz="91255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81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97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963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946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93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922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90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89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892970" y="2089548"/>
            <a:ext cx="7358062" cy="267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35717" tIns="35717" rIns="35717" bIns="3571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>
                <a:sym typeface="Trade Gothic LT Bold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5434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ransition xmlns:p14="http://schemas.microsoft.com/office/powerpoint/2010/main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+mj-lt"/>
          <a:ea typeface="+mj-ea"/>
          <a:cs typeface="+mj-cs"/>
          <a:sym typeface="Trade Gothic LT Bold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5pPr>
      <a:lvl6pPr marL="321453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6pPr>
      <a:lvl7pPr marL="64290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7pPr>
      <a:lvl8pPr marL="964357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8pPr>
      <a:lvl9pPr marL="128580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Trade Gothic LT Bold" charset="0"/>
          <a:ea typeface="ヒラギノ角ゴ ProN W6" charset="0"/>
          <a:cs typeface="ヒラギノ角ゴ ProN W6" charset="0"/>
          <a:sym typeface="Trade Gothic LT Bold" charset="0"/>
        </a:defRPr>
      </a:lvl9pPr>
    </p:titleStyle>
    <p:bodyStyle>
      <a:lvl1pPr marL="241089" indent="-241089"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522360" indent="-200907"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803630" indent="-160726"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125083" indent="-160726"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446534" indent="-160726"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321453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642904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964357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285809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3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04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57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09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61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13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166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17" algn="l" defTabSz="321453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1.jpeg"/><Relationship Id="rId12" Type="http://schemas.openxmlformats.org/officeDocument/2006/relationships/image" Target="../media/image3.JPG"/><Relationship Id="rId13" Type="http://schemas.openxmlformats.org/officeDocument/2006/relationships/image" Target="../media/image14.jpeg"/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slideLayout" Target="../slideLayouts/slideLayout2.xml"/><Relationship Id="rId9" Type="http://schemas.openxmlformats.org/officeDocument/2006/relationships/image" Target="../media/image12.JPG"/><Relationship Id="rId10" Type="http://schemas.openxmlformats.org/officeDocument/2006/relationships/image" Target="../media/image13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5.emf"/><Relationship Id="rId7" Type="http://schemas.openxmlformats.org/officeDocument/2006/relationships/image" Target="../media/image16.jpeg"/><Relationship Id="rId1" Type="http://schemas.openxmlformats.org/officeDocument/2006/relationships/vmlDrawing" Target="../drawings/vmlDrawing1.vml"/><Relationship Id="rId2" Type="http://schemas.openxmlformats.org/officeDocument/2006/relationships/tags" Target="../tags/tag12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4" Type="http://schemas.openxmlformats.org/officeDocument/2006/relationships/tags" Target="../tags/tag26.xml"/><Relationship Id="rId15" Type="http://schemas.openxmlformats.org/officeDocument/2006/relationships/tags" Target="../tags/tag27.xml"/><Relationship Id="rId16" Type="http://schemas.openxmlformats.org/officeDocument/2006/relationships/tags" Target="../tags/tag28.xml"/><Relationship Id="rId17" Type="http://schemas.openxmlformats.org/officeDocument/2006/relationships/tags" Target="../tags/tag29.xml"/><Relationship Id="rId18" Type="http://schemas.openxmlformats.org/officeDocument/2006/relationships/tags" Target="../tags/tag30.xml"/><Relationship Id="rId19" Type="http://schemas.openxmlformats.org/officeDocument/2006/relationships/tags" Target="../tags/tag31.xml"/><Relationship Id="rId63" Type="http://schemas.openxmlformats.org/officeDocument/2006/relationships/tags" Target="../tags/tag75.xml"/><Relationship Id="rId64" Type="http://schemas.openxmlformats.org/officeDocument/2006/relationships/tags" Target="../tags/tag76.xml"/><Relationship Id="rId65" Type="http://schemas.openxmlformats.org/officeDocument/2006/relationships/tags" Target="../tags/tag77.xml"/><Relationship Id="rId66" Type="http://schemas.openxmlformats.org/officeDocument/2006/relationships/tags" Target="../tags/tag78.xml"/><Relationship Id="rId67" Type="http://schemas.openxmlformats.org/officeDocument/2006/relationships/tags" Target="../tags/tag79.xml"/><Relationship Id="rId68" Type="http://schemas.openxmlformats.org/officeDocument/2006/relationships/tags" Target="../tags/tag80.xml"/><Relationship Id="rId69" Type="http://schemas.openxmlformats.org/officeDocument/2006/relationships/tags" Target="../tags/tag81.xml"/><Relationship Id="rId50" Type="http://schemas.openxmlformats.org/officeDocument/2006/relationships/tags" Target="../tags/tag62.xml"/><Relationship Id="rId51" Type="http://schemas.openxmlformats.org/officeDocument/2006/relationships/tags" Target="../tags/tag63.xml"/><Relationship Id="rId52" Type="http://schemas.openxmlformats.org/officeDocument/2006/relationships/tags" Target="../tags/tag64.xml"/><Relationship Id="rId53" Type="http://schemas.openxmlformats.org/officeDocument/2006/relationships/tags" Target="../tags/tag65.xml"/><Relationship Id="rId54" Type="http://schemas.openxmlformats.org/officeDocument/2006/relationships/tags" Target="../tags/tag66.xml"/><Relationship Id="rId55" Type="http://schemas.openxmlformats.org/officeDocument/2006/relationships/tags" Target="../tags/tag67.xml"/><Relationship Id="rId56" Type="http://schemas.openxmlformats.org/officeDocument/2006/relationships/tags" Target="../tags/tag68.xml"/><Relationship Id="rId57" Type="http://schemas.openxmlformats.org/officeDocument/2006/relationships/tags" Target="../tags/tag69.xml"/><Relationship Id="rId58" Type="http://schemas.openxmlformats.org/officeDocument/2006/relationships/tags" Target="../tags/tag70.xml"/><Relationship Id="rId59" Type="http://schemas.openxmlformats.org/officeDocument/2006/relationships/tags" Target="../tags/tag71.xml"/><Relationship Id="rId40" Type="http://schemas.openxmlformats.org/officeDocument/2006/relationships/tags" Target="../tags/tag52.xml"/><Relationship Id="rId41" Type="http://schemas.openxmlformats.org/officeDocument/2006/relationships/tags" Target="../tags/tag53.xml"/><Relationship Id="rId42" Type="http://schemas.openxmlformats.org/officeDocument/2006/relationships/tags" Target="../tags/tag54.xml"/><Relationship Id="rId43" Type="http://schemas.openxmlformats.org/officeDocument/2006/relationships/tags" Target="../tags/tag55.xml"/><Relationship Id="rId44" Type="http://schemas.openxmlformats.org/officeDocument/2006/relationships/tags" Target="../tags/tag56.xml"/><Relationship Id="rId45" Type="http://schemas.openxmlformats.org/officeDocument/2006/relationships/tags" Target="../tags/tag57.xml"/><Relationship Id="rId46" Type="http://schemas.openxmlformats.org/officeDocument/2006/relationships/tags" Target="../tags/tag58.xml"/><Relationship Id="rId47" Type="http://schemas.openxmlformats.org/officeDocument/2006/relationships/tags" Target="../tags/tag59.xml"/><Relationship Id="rId48" Type="http://schemas.openxmlformats.org/officeDocument/2006/relationships/tags" Target="../tags/tag60.xml"/><Relationship Id="rId49" Type="http://schemas.openxmlformats.org/officeDocument/2006/relationships/tags" Target="../tags/tag61.xml"/><Relationship Id="rId1" Type="http://schemas.openxmlformats.org/officeDocument/2006/relationships/tags" Target="../tags/tag13.x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tags" Target="../tags/tag18.xml"/><Relationship Id="rId7" Type="http://schemas.openxmlformats.org/officeDocument/2006/relationships/tags" Target="../tags/tag19.xml"/><Relationship Id="rId8" Type="http://schemas.openxmlformats.org/officeDocument/2006/relationships/tags" Target="../tags/tag20.xml"/><Relationship Id="rId9" Type="http://schemas.openxmlformats.org/officeDocument/2006/relationships/tags" Target="../tags/tag21.xml"/><Relationship Id="rId30" Type="http://schemas.openxmlformats.org/officeDocument/2006/relationships/tags" Target="../tags/tag42.xml"/><Relationship Id="rId31" Type="http://schemas.openxmlformats.org/officeDocument/2006/relationships/tags" Target="../tags/tag43.xml"/><Relationship Id="rId32" Type="http://schemas.openxmlformats.org/officeDocument/2006/relationships/tags" Target="../tags/tag44.xml"/><Relationship Id="rId33" Type="http://schemas.openxmlformats.org/officeDocument/2006/relationships/tags" Target="../tags/tag45.xml"/><Relationship Id="rId34" Type="http://schemas.openxmlformats.org/officeDocument/2006/relationships/tags" Target="../tags/tag46.xml"/><Relationship Id="rId35" Type="http://schemas.openxmlformats.org/officeDocument/2006/relationships/tags" Target="../tags/tag47.xml"/><Relationship Id="rId36" Type="http://schemas.openxmlformats.org/officeDocument/2006/relationships/tags" Target="../tags/tag48.xml"/><Relationship Id="rId37" Type="http://schemas.openxmlformats.org/officeDocument/2006/relationships/tags" Target="../tags/tag49.xml"/><Relationship Id="rId38" Type="http://schemas.openxmlformats.org/officeDocument/2006/relationships/tags" Target="../tags/tag50.xml"/><Relationship Id="rId39" Type="http://schemas.openxmlformats.org/officeDocument/2006/relationships/tags" Target="../tags/tag51.xml"/><Relationship Id="rId70" Type="http://schemas.openxmlformats.org/officeDocument/2006/relationships/tags" Target="../tags/tag82.xml"/><Relationship Id="rId71" Type="http://schemas.openxmlformats.org/officeDocument/2006/relationships/tags" Target="../tags/tag83.xml"/><Relationship Id="rId72" Type="http://schemas.openxmlformats.org/officeDocument/2006/relationships/slideLayout" Target="../slideLayouts/slideLayout2.xml"/><Relationship Id="rId20" Type="http://schemas.openxmlformats.org/officeDocument/2006/relationships/tags" Target="../tags/tag32.xml"/><Relationship Id="rId21" Type="http://schemas.openxmlformats.org/officeDocument/2006/relationships/tags" Target="../tags/tag33.xml"/><Relationship Id="rId22" Type="http://schemas.openxmlformats.org/officeDocument/2006/relationships/tags" Target="../tags/tag34.xml"/><Relationship Id="rId23" Type="http://schemas.openxmlformats.org/officeDocument/2006/relationships/tags" Target="../tags/tag35.xml"/><Relationship Id="rId24" Type="http://schemas.openxmlformats.org/officeDocument/2006/relationships/tags" Target="../tags/tag36.xml"/><Relationship Id="rId25" Type="http://schemas.openxmlformats.org/officeDocument/2006/relationships/tags" Target="../tags/tag37.xml"/><Relationship Id="rId26" Type="http://schemas.openxmlformats.org/officeDocument/2006/relationships/tags" Target="../tags/tag38.xml"/><Relationship Id="rId27" Type="http://schemas.openxmlformats.org/officeDocument/2006/relationships/tags" Target="../tags/tag39.xml"/><Relationship Id="rId28" Type="http://schemas.openxmlformats.org/officeDocument/2006/relationships/tags" Target="../tags/tag40.xml"/><Relationship Id="rId29" Type="http://schemas.openxmlformats.org/officeDocument/2006/relationships/tags" Target="../tags/tag41.xml"/><Relationship Id="rId60" Type="http://schemas.openxmlformats.org/officeDocument/2006/relationships/tags" Target="../tags/tag72.xml"/><Relationship Id="rId61" Type="http://schemas.openxmlformats.org/officeDocument/2006/relationships/tags" Target="../tags/tag73.xml"/><Relationship Id="rId62" Type="http://schemas.openxmlformats.org/officeDocument/2006/relationships/tags" Target="../tags/tag74.xml"/><Relationship Id="rId10" Type="http://schemas.openxmlformats.org/officeDocument/2006/relationships/tags" Target="../tags/tag22.xml"/><Relationship Id="rId11" Type="http://schemas.openxmlformats.org/officeDocument/2006/relationships/tags" Target="../tags/tag23.xml"/><Relationship Id="rId12" Type="http://schemas.openxmlformats.org/officeDocument/2006/relationships/tags" Target="../tags/tag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91.xml"/><Relationship Id="rId20" Type="http://schemas.openxmlformats.org/officeDocument/2006/relationships/image" Target="../media/image20.jpeg"/><Relationship Id="rId21" Type="http://schemas.openxmlformats.org/officeDocument/2006/relationships/image" Target="../media/image21.jpeg"/><Relationship Id="rId22" Type="http://schemas.openxmlformats.org/officeDocument/2006/relationships/image" Target="../media/image22.JPG"/><Relationship Id="rId10" Type="http://schemas.openxmlformats.org/officeDocument/2006/relationships/tags" Target="../tags/tag92.xml"/><Relationship Id="rId11" Type="http://schemas.openxmlformats.org/officeDocument/2006/relationships/tags" Target="../tags/tag93.xml"/><Relationship Id="rId12" Type="http://schemas.openxmlformats.org/officeDocument/2006/relationships/tags" Target="../tags/tag94.xml"/><Relationship Id="rId13" Type="http://schemas.openxmlformats.org/officeDocument/2006/relationships/tags" Target="../tags/tag95.xml"/><Relationship Id="rId14" Type="http://schemas.openxmlformats.org/officeDocument/2006/relationships/tags" Target="../tags/tag96.xml"/><Relationship Id="rId15" Type="http://schemas.openxmlformats.org/officeDocument/2006/relationships/slideLayout" Target="../slideLayouts/slideLayout2.xml"/><Relationship Id="rId16" Type="http://schemas.openxmlformats.org/officeDocument/2006/relationships/notesSlide" Target="../notesSlides/notesSlide2.xml"/><Relationship Id="rId17" Type="http://schemas.openxmlformats.org/officeDocument/2006/relationships/oleObject" Target="../embeddings/oleObject2.bin"/><Relationship Id="rId18" Type="http://schemas.openxmlformats.org/officeDocument/2006/relationships/image" Target="../media/image18.emf"/><Relationship Id="rId19" Type="http://schemas.openxmlformats.org/officeDocument/2006/relationships/image" Target="../media/image19.jpeg"/><Relationship Id="rId1" Type="http://schemas.openxmlformats.org/officeDocument/2006/relationships/vmlDrawing" Target="../drawings/vmlDrawing2.vml"/><Relationship Id="rId2" Type="http://schemas.openxmlformats.org/officeDocument/2006/relationships/tags" Target="../tags/tag84.xml"/><Relationship Id="rId3" Type="http://schemas.openxmlformats.org/officeDocument/2006/relationships/tags" Target="../tags/tag85.xml"/><Relationship Id="rId4" Type="http://schemas.openxmlformats.org/officeDocument/2006/relationships/tags" Target="../tags/tag86.xml"/><Relationship Id="rId5" Type="http://schemas.openxmlformats.org/officeDocument/2006/relationships/tags" Target="../tags/tag87.xml"/><Relationship Id="rId6" Type="http://schemas.openxmlformats.org/officeDocument/2006/relationships/tags" Target="../tags/tag88.xml"/><Relationship Id="rId7" Type="http://schemas.openxmlformats.org/officeDocument/2006/relationships/tags" Target="../tags/tag89.xml"/><Relationship Id="rId8" Type="http://schemas.openxmlformats.org/officeDocument/2006/relationships/tags" Target="../tags/tag9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G"/></Relationships>
</file>

<file path=ppt/slides/_rels/slide20.xml.rels><?xml version="1.0" encoding="UTF-8" standalone="yes"?>
<Relationships xmlns="http://schemas.openxmlformats.org/package/2006/relationships"><Relationship Id="rId20" Type="http://schemas.openxmlformats.org/officeDocument/2006/relationships/tags" Target="../tags/tag115.xml"/><Relationship Id="rId21" Type="http://schemas.openxmlformats.org/officeDocument/2006/relationships/tags" Target="../tags/tag116.xml"/><Relationship Id="rId22" Type="http://schemas.openxmlformats.org/officeDocument/2006/relationships/tags" Target="../tags/tag117.xml"/><Relationship Id="rId23" Type="http://schemas.openxmlformats.org/officeDocument/2006/relationships/tags" Target="../tags/tag118.xml"/><Relationship Id="rId24" Type="http://schemas.openxmlformats.org/officeDocument/2006/relationships/tags" Target="../tags/tag119.xml"/><Relationship Id="rId25" Type="http://schemas.openxmlformats.org/officeDocument/2006/relationships/tags" Target="../tags/tag120.xml"/><Relationship Id="rId26" Type="http://schemas.openxmlformats.org/officeDocument/2006/relationships/tags" Target="../tags/tag121.xml"/><Relationship Id="rId27" Type="http://schemas.openxmlformats.org/officeDocument/2006/relationships/tags" Target="../tags/tag122.xml"/><Relationship Id="rId28" Type="http://schemas.openxmlformats.org/officeDocument/2006/relationships/tags" Target="../tags/tag123.xml"/><Relationship Id="rId29" Type="http://schemas.openxmlformats.org/officeDocument/2006/relationships/tags" Target="../tags/tag124.xml"/><Relationship Id="rId1" Type="http://schemas.openxmlformats.org/officeDocument/2006/relationships/vmlDrawing" Target="../drawings/vmlDrawing3.vml"/><Relationship Id="rId2" Type="http://schemas.openxmlformats.org/officeDocument/2006/relationships/tags" Target="../tags/tag97.xml"/><Relationship Id="rId3" Type="http://schemas.openxmlformats.org/officeDocument/2006/relationships/tags" Target="../tags/tag98.xml"/><Relationship Id="rId4" Type="http://schemas.openxmlformats.org/officeDocument/2006/relationships/tags" Target="../tags/tag99.xml"/><Relationship Id="rId5" Type="http://schemas.openxmlformats.org/officeDocument/2006/relationships/tags" Target="../tags/tag100.xml"/><Relationship Id="rId30" Type="http://schemas.openxmlformats.org/officeDocument/2006/relationships/slideLayout" Target="../slideLayouts/slideLayout7.xml"/><Relationship Id="rId31" Type="http://schemas.openxmlformats.org/officeDocument/2006/relationships/notesSlide" Target="../notesSlides/notesSlide3.xml"/><Relationship Id="rId32" Type="http://schemas.openxmlformats.org/officeDocument/2006/relationships/oleObject" Target="../embeddings/oleObject3.bin"/><Relationship Id="rId9" Type="http://schemas.openxmlformats.org/officeDocument/2006/relationships/tags" Target="../tags/tag104.xml"/><Relationship Id="rId6" Type="http://schemas.openxmlformats.org/officeDocument/2006/relationships/tags" Target="../tags/tag101.xml"/><Relationship Id="rId7" Type="http://schemas.openxmlformats.org/officeDocument/2006/relationships/tags" Target="../tags/tag102.xml"/><Relationship Id="rId8" Type="http://schemas.openxmlformats.org/officeDocument/2006/relationships/tags" Target="../tags/tag103.xml"/><Relationship Id="rId33" Type="http://schemas.openxmlformats.org/officeDocument/2006/relationships/image" Target="../media/image23.emf"/><Relationship Id="rId34" Type="http://schemas.openxmlformats.org/officeDocument/2006/relationships/oleObject" Target="../embeddings/oleObject4.bin"/><Relationship Id="rId35" Type="http://schemas.openxmlformats.org/officeDocument/2006/relationships/image" Target="../media/image24.emf"/><Relationship Id="rId10" Type="http://schemas.openxmlformats.org/officeDocument/2006/relationships/tags" Target="../tags/tag105.xml"/><Relationship Id="rId11" Type="http://schemas.openxmlformats.org/officeDocument/2006/relationships/tags" Target="../tags/tag106.xml"/><Relationship Id="rId12" Type="http://schemas.openxmlformats.org/officeDocument/2006/relationships/tags" Target="../tags/tag107.xml"/><Relationship Id="rId13" Type="http://schemas.openxmlformats.org/officeDocument/2006/relationships/tags" Target="../tags/tag108.xml"/><Relationship Id="rId14" Type="http://schemas.openxmlformats.org/officeDocument/2006/relationships/tags" Target="../tags/tag109.xml"/><Relationship Id="rId15" Type="http://schemas.openxmlformats.org/officeDocument/2006/relationships/tags" Target="../tags/tag110.xml"/><Relationship Id="rId16" Type="http://schemas.openxmlformats.org/officeDocument/2006/relationships/tags" Target="../tags/tag111.xml"/><Relationship Id="rId17" Type="http://schemas.openxmlformats.org/officeDocument/2006/relationships/tags" Target="../tags/tag112.xml"/><Relationship Id="rId18" Type="http://schemas.openxmlformats.org/officeDocument/2006/relationships/tags" Target="../tags/tag113.xml"/><Relationship Id="rId19" Type="http://schemas.openxmlformats.org/officeDocument/2006/relationships/tags" Target="../tags/tag1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0" Type="http://schemas.openxmlformats.org/officeDocument/2006/relationships/tags" Target="../tags/tag143.xml"/><Relationship Id="rId21" Type="http://schemas.openxmlformats.org/officeDocument/2006/relationships/tags" Target="../tags/tag144.xml"/><Relationship Id="rId22" Type="http://schemas.openxmlformats.org/officeDocument/2006/relationships/tags" Target="../tags/tag145.xml"/><Relationship Id="rId23" Type="http://schemas.openxmlformats.org/officeDocument/2006/relationships/tags" Target="../tags/tag146.xml"/><Relationship Id="rId24" Type="http://schemas.openxmlformats.org/officeDocument/2006/relationships/tags" Target="../tags/tag147.xml"/><Relationship Id="rId25" Type="http://schemas.openxmlformats.org/officeDocument/2006/relationships/tags" Target="../tags/tag148.xml"/><Relationship Id="rId26" Type="http://schemas.openxmlformats.org/officeDocument/2006/relationships/tags" Target="../tags/tag149.xml"/><Relationship Id="rId27" Type="http://schemas.openxmlformats.org/officeDocument/2006/relationships/tags" Target="../tags/tag150.xml"/><Relationship Id="rId28" Type="http://schemas.openxmlformats.org/officeDocument/2006/relationships/tags" Target="../tags/tag151.xml"/><Relationship Id="rId29" Type="http://schemas.openxmlformats.org/officeDocument/2006/relationships/tags" Target="../tags/tag152.xml"/><Relationship Id="rId1" Type="http://schemas.openxmlformats.org/officeDocument/2006/relationships/vmlDrawing" Target="../drawings/vmlDrawing4.vml"/><Relationship Id="rId2" Type="http://schemas.openxmlformats.org/officeDocument/2006/relationships/tags" Target="../tags/tag125.xml"/><Relationship Id="rId3" Type="http://schemas.openxmlformats.org/officeDocument/2006/relationships/tags" Target="../tags/tag126.xml"/><Relationship Id="rId4" Type="http://schemas.openxmlformats.org/officeDocument/2006/relationships/tags" Target="../tags/tag127.xml"/><Relationship Id="rId5" Type="http://schemas.openxmlformats.org/officeDocument/2006/relationships/tags" Target="../tags/tag128.xml"/><Relationship Id="rId30" Type="http://schemas.openxmlformats.org/officeDocument/2006/relationships/tags" Target="../tags/tag153.xml"/><Relationship Id="rId31" Type="http://schemas.openxmlformats.org/officeDocument/2006/relationships/tags" Target="../tags/tag154.xml"/><Relationship Id="rId32" Type="http://schemas.openxmlformats.org/officeDocument/2006/relationships/tags" Target="../tags/tag155.xml"/><Relationship Id="rId9" Type="http://schemas.openxmlformats.org/officeDocument/2006/relationships/tags" Target="../tags/tag132.xml"/><Relationship Id="rId6" Type="http://schemas.openxmlformats.org/officeDocument/2006/relationships/tags" Target="../tags/tag129.xml"/><Relationship Id="rId7" Type="http://schemas.openxmlformats.org/officeDocument/2006/relationships/tags" Target="../tags/tag130.xml"/><Relationship Id="rId8" Type="http://schemas.openxmlformats.org/officeDocument/2006/relationships/tags" Target="../tags/tag131.xml"/><Relationship Id="rId33" Type="http://schemas.openxmlformats.org/officeDocument/2006/relationships/tags" Target="../tags/tag156.xml"/><Relationship Id="rId34" Type="http://schemas.openxmlformats.org/officeDocument/2006/relationships/tags" Target="../tags/tag157.xml"/><Relationship Id="rId35" Type="http://schemas.openxmlformats.org/officeDocument/2006/relationships/tags" Target="../tags/tag158.xml"/><Relationship Id="rId36" Type="http://schemas.openxmlformats.org/officeDocument/2006/relationships/tags" Target="../tags/tag159.xml"/><Relationship Id="rId10" Type="http://schemas.openxmlformats.org/officeDocument/2006/relationships/tags" Target="../tags/tag133.xml"/><Relationship Id="rId11" Type="http://schemas.openxmlformats.org/officeDocument/2006/relationships/tags" Target="../tags/tag134.xml"/><Relationship Id="rId12" Type="http://schemas.openxmlformats.org/officeDocument/2006/relationships/tags" Target="../tags/tag135.xml"/><Relationship Id="rId13" Type="http://schemas.openxmlformats.org/officeDocument/2006/relationships/tags" Target="../tags/tag136.xml"/><Relationship Id="rId14" Type="http://schemas.openxmlformats.org/officeDocument/2006/relationships/tags" Target="../tags/tag137.xml"/><Relationship Id="rId15" Type="http://schemas.openxmlformats.org/officeDocument/2006/relationships/tags" Target="../tags/tag138.xml"/><Relationship Id="rId16" Type="http://schemas.openxmlformats.org/officeDocument/2006/relationships/tags" Target="../tags/tag139.xml"/><Relationship Id="rId17" Type="http://schemas.openxmlformats.org/officeDocument/2006/relationships/tags" Target="../tags/tag140.xml"/><Relationship Id="rId18" Type="http://schemas.openxmlformats.org/officeDocument/2006/relationships/tags" Target="../tags/tag141.xml"/><Relationship Id="rId19" Type="http://schemas.openxmlformats.org/officeDocument/2006/relationships/tags" Target="../tags/tag142.xml"/><Relationship Id="rId37" Type="http://schemas.openxmlformats.org/officeDocument/2006/relationships/tags" Target="../tags/tag160.xml"/><Relationship Id="rId38" Type="http://schemas.openxmlformats.org/officeDocument/2006/relationships/tags" Target="../tags/tag161.xml"/><Relationship Id="rId39" Type="http://schemas.openxmlformats.org/officeDocument/2006/relationships/tags" Target="../tags/tag162.xml"/><Relationship Id="rId40" Type="http://schemas.openxmlformats.org/officeDocument/2006/relationships/tags" Target="../tags/tag163.xml"/><Relationship Id="rId41" Type="http://schemas.openxmlformats.org/officeDocument/2006/relationships/slideLayout" Target="../slideLayouts/slideLayout2.xml"/><Relationship Id="rId42" Type="http://schemas.openxmlformats.org/officeDocument/2006/relationships/oleObject" Target="../embeddings/oleObject5.bin"/><Relationship Id="rId43" Type="http://schemas.openxmlformats.org/officeDocument/2006/relationships/image" Target="../media/image25.emf"/></Relationships>
</file>

<file path=ppt/slides/_rels/slide23.xml.rels><?xml version="1.0" encoding="UTF-8" standalone="yes"?>
<Relationships xmlns="http://schemas.openxmlformats.org/package/2006/relationships"><Relationship Id="rId10" Type="http://schemas.openxmlformats.org/officeDocument/2006/relationships/tags" Target="../tags/tag172.xml"/><Relationship Id="rId11" Type="http://schemas.openxmlformats.org/officeDocument/2006/relationships/tags" Target="../tags/tag173.xml"/><Relationship Id="rId12" Type="http://schemas.openxmlformats.org/officeDocument/2006/relationships/tags" Target="../tags/tag174.xml"/><Relationship Id="rId13" Type="http://schemas.openxmlformats.org/officeDocument/2006/relationships/tags" Target="../tags/tag175.xml"/><Relationship Id="rId14" Type="http://schemas.openxmlformats.org/officeDocument/2006/relationships/tags" Target="../tags/tag176.xml"/><Relationship Id="rId15" Type="http://schemas.openxmlformats.org/officeDocument/2006/relationships/tags" Target="../tags/tag177.xml"/><Relationship Id="rId16" Type="http://schemas.openxmlformats.org/officeDocument/2006/relationships/tags" Target="../tags/tag178.xml"/><Relationship Id="rId17" Type="http://schemas.openxmlformats.org/officeDocument/2006/relationships/tags" Target="../tags/tag179.xml"/><Relationship Id="rId18" Type="http://schemas.openxmlformats.org/officeDocument/2006/relationships/tags" Target="../tags/tag180.xml"/><Relationship Id="rId19" Type="http://schemas.openxmlformats.org/officeDocument/2006/relationships/tags" Target="../tags/tag181.xml"/><Relationship Id="rId60" Type="http://schemas.openxmlformats.org/officeDocument/2006/relationships/tags" Target="../tags/tag222.xml"/><Relationship Id="rId61" Type="http://schemas.openxmlformats.org/officeDocument/2006/relationships/tags" Target="../tags/tag223.xml"/><Relationship Id="rId62" Type="http://schemas.openxmlformats.org/officeDocument/2006/relationships/tags" Target="../tags/tag224.xml"/><Relationship Id="rId63" Type="http://schemas.openxmlformats.org/officeDocument/2006/relationships/tags" Target="../tags/tag225.xml"/><Relationship Id="rId64" Type="http://schemas.openxmlformats.org/officeDocument/2006/relationships/tags" Target="../tags/tag226.xml"/><Relationship Id="rId65" Type="http://schemas.openxmlformats.org/officeDocument/2006/relationships/tags" Target="../tags/tag227.xml"/><Relationship Id="rId66" Type="http://schemas.openxmlformats.org/officeDocument/2006/relationships/tags" Target="../tags/tag228.xml"/><Relationship Id="rId67" Type="http://schemas.openxmlformats.org/officeDocument/2006/relationships/tags" Target="../tags/tag229.xml"/><Relationship Id="rId68" Type="http://schemas.openxmlformats.org/officeDocument/2006/relationships/tags" Target="../tags/tag230.xml"/><Relationship Id="rId69" Type="http://schemas.openxmlformats.org/officeDocument/2006/relationships/tags" Target="../tags/tag231.xml"/><Relationship Id="rId120" Type="http://schemas.openxmlformats.org/officeDocument/2006/relationships/tags" Target="../tags/tag282.xml"/><Relationship Id="rId121" Type="http://schemas.openxmlformats.org/officeDocument/2006/relationships/tags" Target="../tags/tag283.xml"/><Relationship Id="rId122" Type="http://schemas.openxmlformats.org/officeDocument/2006/relationships/tags" Target="../tags/tag284.xml"/><Relationship Id="rId123" Type="http://schemas.openxmlformats.org/officeDocument/2006/relationships/tags" Target="../tags/tag285.xml"/><Relationship Id="rId124" Type="http://schemas.openxmlformats.org/officeDocument/2006/relationships/tags" Target="../tags/tag286.xml"/><Relationship Id="rId125" Type="http://schemas.openxmlformats.org/officeDocument/2006/relationships/tags" Target="../tags/tag287.xml"/><Relationship Id="rId126" Type="http://schemas.openxmlformats.org/officeDocument/2006/relationships/tags" Target="../tags/tag288.xml"/><Relationship Id="rId127" Type="http://schemas.openxmlformats.org/officeDocument/2006/relationships/tags" Target="../tags/tag289.xml"/><Relationship Id="rId128" Type="http://schemas.openxmlformats.org/officeDocument/2006/relationships/slideLayout" Target="../slideLayouts/slideLayout7.xml"/><Relationship Id="rId129" Type="http://schemas.openxmlformats.org/officeDocument/2006/relationships/oleObject" Target="../embeddings/oleObject6.bin"/><Relationship Id="rId40" Type="http://schemas.openxmlformats.org/officeDocument/2006/relationships/tags" Target="../tags/tag202.xml"/><Relationship Id="rId41" Type="http://schemas.openxmlformats.org/officeDocument/2006/relationships/tags" Target="../tags/tag203.xml"/><Relationship Id="rId42" Type="http://schemas.openxmlformats.org/officeDocument/2006/relationships/tags" Target="../tags/tag204.xml"/><Relationship Id="rId90" Type="http://schemas.openxmlformats.org/officeDocument/2006/relationships/tags" Target="../tags/tag252.xml"/><Relationship Id="rId91" Type="http://schemas.openxmlformats.org/officeDocument/2006/relationships/tags" Target="../tags/tag253.xml"/><Relationship Id="rId92" Type="http://schemas.openxmlformats.org/officeDocument/2006/relationships/tags" Target="../tags/tag254.xml"/><Relationship Id="rId93" Type="http://schemas.openxmlformats.org/officeDocument/2006/relationships/tags" Target="../tags/tag255.xml"/><Relationship Id="rId94" Type="http://schemas.openxmlformats.org/officeDocument/2006/relationships/tags" Target="../tags/tag256.xml"/><Relationship Id="rId95" Type="http://schemas.openxmlformats.org/officeDocument/2006/relationships/tags" Target="../tags/tag257.xml"/><Relationship Id="rId96" Type="http://schemas.openxmlformats.org/officeDocument/2006/relationships/tags" Target="../tags/tag258.xml"/><Relationship Id="rId101" Type="http://schemas.openxmlformats.org/officeDocument/2006/relationships/tags" Target="../tags/tag263.xml"/><Relationship Id="rId102" Type="http://schemas.openxmlformats.org/officeDocument/2006/relationships/tags" Target="../tags/tag264.xml"/><Relationship Id="rId103" Type="http://schemas.openxmlformats.org/officeDocument/2006/relationships/tags" Target="../tags/tag265.xml"/><Relationship Id="rId104" Type="http://schemas.openxmlformats.org/officeDocument/2006/relationships/tags" Target="../tags/tag266.xml"/><Relationship Id="rId105" Type="http://schemas.openxmlformats.org/officeDocument/2006/relationships/tags" Target="../tags/tag267.xml"/><Relationship Id="rId106" Type="http://schemas.openxmlformats.org/officeDocument/2006/relationships/tags" Target="../tags/tag268.xml"/><Relationship Id="rId107" Type="http://schemas.openxmlformats.org/officeDocument/2006/relationships/tags" Target="../tags/tag269.xml"/><Relationship Id="rId108" Type="http://schemas.openxmlformats.org/officeDocument/2006/relationships/tags" Target="../tags/tag270.xml"/><Relationship Id="rId109" Type="http://schemas.openxmlformats.org/officeDocument/2006/relationships/tags" Target="../tags/tag271.xml"/><Relationship Id="rId97" Type="http://schemas.openxmlformats.org/officeDocument/2006/relationships/tags" Target="../tags/tag259.xml"/><Relationship Id="rId98" Type="http://schemas.openxmlformats.org/officeDocument/2006/relationships/tags" Target="../tags/tag260.xml"/><Relationship Id="rId99" Type="http://schemas.openxmlformats.org/officeDocument/2006/relationships/tags" Target="../tags/tag261.xml"/><Relationship Id="rId43" Type="http://schemas.openxmlformats.org/officeDocument/2006/relationships/tags" Target="../tags/tag205.xml"/><Relationship Id="rId44" Type="http://schemas.openxmlformats.org/officeDocument/2006/relationships/tags" Target="../tags/tag206.xml"/><Relationship Id="rId45" Type="http://schemas.openxmlformats.org/officeDocument/2006/relationships/tags" Target="../tags/tag207.xml"/><Relationship Id="rId46" Type="http://schemas.openxmlformats.org/officeDocument/2006/relationships/tags" Target="../tags/tag208.xml"/><Relationship Id="rId47" Type="http://schemas.openxmlformats.org/officeDocument/2006/relationships/tags" Target="../tags/tag209.xml"/><Relationship Id="rId48" Type="http://schemas.openxmlformats.org/officeDocument/2006/relationships/tags" Target="../tags/tag210.xml"/><Relationship Id="rId49" Type="http://schemas.openxmlformats.org/officeDocument/2006/relationships/tags" Target="../tags/tag211.xml"/><Relationship Id="rId100" Type="http://schemas.openxmlformats.org/officeDocument/2006/relationships/tags" Target="../tags/tag262.xml"/><Relationship Id="rId20" Type="http://schemas.openxmlformats.org/officeDocument/2006/relationships/tags" Target="../tags/tag182.xml"/><Relationship Id="rId21" Type="http://schemas.openxmlformats.org/officeDocument/2006/relationships/tags" Target="../tags/tag183.xml"/><Relationship Id="rId22" Type="http://schemas.openxmlformats.org/officeDocument/2006/relationships/tags" Target="../tags/tag184.xml"/><Relationship Id="rId70" Type="http://schemas.openxmlformats.org/officeDocument/2006/relationships/tags" Target="../tags/tag232.xml"/><Relationship Id="rId71" Type="http://schemas.openxmlformats.org/officeDocument/2006/relationships/tags" Target="../tags/tag233.xml"/><Relationship Id="rId72" Type="http://schemas.openxmlformats.org/officeDocument/2006/relationships/tags" Target="../tags/tag234.xml"/><Relationship Id="rId73" Type="http://schemas.openxmlformats.org/officeDocument/2006/relationships/tags" Target="../tags/tag235.xml"/><Relationship Id="rId74" Type="http://schemas.openxmlformats.org/officeDocument/2006/relationships/tags" Target="../tags/tag236.xml"/><Relationship Id="rId75" Type="http://schemas.openxmlformats.org/officeDocument/2006/relationships/tags" Target="../tags/tag237.xml"/><Relationship Id="rId76" Type="http://schemas.openxmlformats.org/officeDocument/2006/relationships/tags" Target="../tags/tag238.xml"/><Relationship Id="rId77" Type="http://schemas.openxmlformats.org/officeDocument/2006/relationships/tags" Target="../tags/tag239.xml"/><Relationship Id="rId78" Type="http://schemas.openxmlformats.org/officeDocument/2006/relationships/tags" Target="../tags/tag240.xml"/><Relationship Id="rId79" Type="http://schemas.openxmlformats.org/officeDocument/2006/relationships/tags" Target="../tags/tag241.xml"/><Relationship Id="rId23" Type="http://schemas.openxmlformats.org/officeDocument/2006/relationships/tags" Target="../tags/tag185.xml"/><Relationship Id="rId24" Type="http://schemas.openxmlformats.org/officeDocument/2006/relationships/tags" Target="../tags/tag186.xml"/><Relationship Id="rId25" Type="http://schemas.openxmlformats.org/officeDocument/2006/relationships/tags" Target="../tags/tag187.xml"/><Relationship Id="rId26" Type="http://schemas.openxmlformats.org/officeDocument/2006/relationships/tags" Target="../tags/tag188.xml"/><Relationship Id="rId27" Type="http://schemas.openxmlformats.org/officeDocument/2006/relationships/tags" Target="../tags/tag189.xml"/><Relationship Id="rId28" Type="http://schemas.openxmlformats.org/officeDocument/2006/relationships/tags" Target="../tags/tag190.xml"/><Relationship Id="rId29" Type="http://schemas.openxmlformats.org/officeDocument/2006/relationships/tags" Target="../tags/tag191.xml"/><Relationship Id="rId130" Type="http://schemas.openxmlformats.org/officeDocument/2006/relationships/image" Target="../media/image25.emf"/><Relationship Id="rId131" Type="http://schemas.openxmlformats.org/officeDocument/2006/relationships/oleObject" Target="../embeddings/oleObject7.bin"/><Relationship Id="rId132" Type="http://schemas.openxmlformats.org/officeDocument/2006/relationships/image" Target="../media/image26.emf"/><Relationship Id="rId1" Type="http://schemas.openxmlformats.org/officeDocument/2006/relationships/vmlDrawing" Target="../drawings/vmlDrawing5.vml"/><Relationship Id="rId2" Type="http://schemas.openxmlformats.org/officeDocument/2006/relationships/tags" Target="../tags/tag164.xml"/><Relationship Id="rId3" Type="http://schemas.openxmlformats.org/officeDocument/2006/relationships/tags" Target="../tags/tag165.xml"/><Relationship Id="rId4" Type="http://schemas.openxmlformats.org/officeDocument/2006/relationships/tags" Target="../tags/tag166.xml"/><Relationship Id="rId5" Type="http://schemas.openxmlformats.org/officeDocument/2006/relationships/tags" Target="../tags/tag167.xml"/><Relationship Id="rId6" Type="http://schemas.openxmlformats.org/officeDocument/2006/relationships/tags" Target="../tags/tag168.xml"/><Relationship Id="rId7" Type="http://schemas.openxmlformats.org/officeDocument/2006/relationships/tags" Target="../tags/tag169.xml"/><Relationship Id="rId8" Type="http://schemas.openxmlformats.org/officeDocument/2006/relationships/tags" Target="../tags/tag170.xml"/><Relationship Id="rId9" Type="http://schemas.openxmlformats.org/officeDocument/2006/relationships/tags" Target="../tags/tag171.xml"/><Relationship Id="rId50" Type="http://schemas.openxmlformats.org/officeDocument/2006/relationships/tags" Target="../tags/tag212.xml"/><Relationship Id="rId51" Type="http://schemas.openxmlformats.org/officeDocument/2006/relationships/tags" Target="../tags/tag213.xml"/><Relationship Id="rId52" Type="http://schemas.openxmlformats.org/officeDocument/2006/relationships/tags" Target="../tags/tag214.xml"/><Relationship Id="rId53" Type="http://schemas.openxmlformats.org/officeDocument/2006/relationships/tags" Target="../tags/tag215.xml"/><Relationship Id="rId54" Type="http://schemas.openxmlformats.org/officeDocument/2006/relationships/tags" Target="../tags/tag216.xml"/><Relationship Id="rId55" Type="http://schemas.openxmlformats.org/officeDocument/2006/relationships/tags" Target="../tags/tag217.xml"/><Relationship Id="rId56" Type="http://schemas.openxmlformats.org/officeDocument/2006/relationships/tags" Target="../tags/tag218.xml"/><Relationship Id="rId57" Type="http://schemas.openxmlformats.org/officeDocument/2006/relationships/tags" Target="../tags/tag219.xml"/><Relationship Id="rId58" Type="http://schemas.openxmlformats.org/officeDocument/2006/relationships/tags" Target="../tags/tag220.xml"/><Relationship Id="rId59" Type="http://schemas.openxmlformats.org/officeDocument/2006/relationships/tags" Target="../tags/tag221.xml"/><Relationship Id="rId110" Type="http://schemas.openxmlformats.org/officeDocument/2006/relationships/tags" Target="../tags/tag272.xml"/><Relationship Id="rId111" Type="http://schemas.openxmlformats.org/officeDocument/2006/relationships/tags" Target="../tags/tag273.xml"/><Relationship Id="rId112" Type="http://schemas.openxmlformats.org/officeDocument/2006/relationships/tags" Target="../tags/tag274.xml"/><Relationship Id="rId113" Type="http://schemas.openxmlformats.org/officeDocument/2006/relationships/tags" Target="../tags/tag275.xml"/><Relationship Id="rId114" Type="http://schemas.openxmlformats.org/officeDocument/2006/relationships/tags" Target="../tags/tag276.xml"/><Relationship Id="rId115" Type="http://schemas.openxmlformats.org/officeDocument/2006/relationships/tags" Target="../tags/tag277.xml"/><Relationship Id="rId116" Type="http://schemas.openxmlformats.org/officeDocument/2006/relationships/tags" Target="../tags/tag278.xml"/><Relationship Id="rId117" Type="http://schemas.openxmlformats.org/officeDocument/2006/relationships/tags" Target="../tags/tag279.xml"/><Relationship Id="rId118" Type="http://schemas.openxmlformats.org/officeDocument/2006/relationships/tags" Target="../tags/tag280.xml"/><Relationship Id="rId119" Type="http://schemas.openxmlformats.org/officeDocument/2006/relationships/tags" Target="../tags/tag281.xml"/><Relationship Id="rId30" Type="http://schemas.openxmlformats.org/officeDocument/2006/relationships/tags" Target="../tags/tag192.xml"/><Relationship Id="rId31" Type="http://schemas.openxmlformats.org/officeDocument/2006/relationships/tags" Target="../tags/tag193.xml"/><Relationship Id="rId32" Type="http://schemas.openxmlformats.org/officeDocument/2006/relationships/tags" Target="../tags/tag194.xml"/><Relationship Id="rId33" Type="http://schemas.openxmlformats.org/officeDocument/2006/relationships/tags" Target="../tags/tag195.xml"/><Relationship Id="rId34" Type="http://schemas.openxmlformats.org/officeDocument/2006/relationships/tags" Target="../tags/tag196.xml"/><Relationship Id="rId35" Type="http://schemas.openxmlformats.org/officeDocument/2006/relationships/tags" Target="../tags/tag197.xml"/><Relationship Id="rId36" Type="http://schemas.openxmlformats.org/officeDocument/2006/relationships/tags" Target="../tags/tag198.xml"/><Relationship Id="rId37" Type="http://schemas.openxmlformats.org/officeDocument/2006/relationships/tags" Target="../tags/tag199.xml"/><Relationship Id="rId38" Type="http://schemas.openxmlformats.org/officeDocument/2006/relationships/tags" Target="../tags/tag200.xml"/><Relationship Id="rId39" Type="http://schemas.openxmlformats.org/officeDocument/2006/relationships/tags" Target="../tags/tag201.xml"/><Relationship Id="rId80" Type="http://schemas.openxmlformats.org/officeDocument/2006/relationships/tags" Target="../tags/tag242.xml"/><Relationship Id="rId81" Type="http://schemas.openxmlformats.org/officeDocument/2006/relationships/tags" Target="../tags/tag243.xml"/><Relationship Id="rId82" Type="http://schemas.openxmlformats.org/officeDocument/2006/relationships/tags" Target="../tags/tag244.xml"/><Relationship Id="rId83" Type="http://schemas.openxmlformats.org/officeDocument/2006/relationships/tags" Target="../tags/tag245.xml"/><Relationship Id="rId84" Type="http://schemas.openxmlformats.org/officeDocument/2006/relationships/tags" Target="../tags/tag246.xml"/><Relationship Id="rId85" Type="http://schemas.openxmlformats.org/officeDocument/2006/relationships/tags" Target="../tags/tag247.xml"/><Relationship Id="rId86" Type="http://schemas.openxmlformats.org/officeDocument/2006/relationships/tags" Target="../tags/tag248.xml"/><Relationship Id="rId87" Type="http://schemas.openxmlformats.org/officeDocument/2006/relationships/tags" Target="../tags/tag249.xml"/><Relationship Id="rId88" Type="http://schemas.openxmlformats.org/officeDocument/2006/relationships/tags" Target="../tags/tag250.xml"/><Relationship Id="rId89" Type="http://schemas.openxmlformats.org/officeDocument/2006/relationships/tags" Target="../tags/tag251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301.xml"/><Relationship Id="rId14" Type="http://schemas.openxmlformats.org/officeDocument/2006/relationships/tags" Target="../tags/tag302.xml"/><Relationship Id="rId15" Type="http://schemas.openxmlformats.org/officeDocument/2006/relationships/tags" Target="../tags/tag303.xml"/><Relationship Id="rId16" Type="http://schemas.openxmlformats.org/officeDocument/2006/relationships/tags" Target="../tags/tag304.xml"/><Relationship Id="rId17" Type="http://schemas.openxmlformats.org/officeDocument/2006/relationships/tags" Target="../tags/tag305.xml"/><Relationship Id="rId18" Type="http://schemas.openxmlformats.org/officeDocument/2006/relationships/tags" Target="../tags/tag306.xml"/><Relationship Id="rId19" Type="http://schemas.openxmlformats.org/officeDocument/2006/relationships/tags" Target="../tags/tag307.xml"/><Relationship Id="rId50" Type="http://schemas.openxmlformats.org/officeDocument/2006/relationships/tags" Target="../tags/tag338.xml"/><Relationship Id="rId51" Type="http://schemas.openxmlformats.org/officeDocument/2006/relationships/tags" Target="../tags/tag339.xml"/><Relationship Id="rId52" Type="http://schemas.openxmlformats.org/officeDocument/2006/relationships/slideLayout" Target="../slideLayouts/slideLayout7.xml"/><Relationship Id="rId53" Type="http://schemas.openxmlformats.org/officeDocument/2006/relationships/notesSlide" Target="../notesSlides/notesSlide4.xml"/><Relationship Id="rId54" Type="http://schemas.openxmlformats.org/officeDocument/2006/relationships/oleObject" Target="../embeddings/oleObject8.bin"/><Relationship Id="rId55" Type="http://schemas.openxmlformats.org/officeDocument/2006/relationships/image" Target="../media/image23.emf"/><Relationship Id="rId56" Type="http://schemas.openxmlformats.org/officeDocument/2006/relationships/oleObject" Target="../embeddings/oleObject9.bin"/><Relationship Id="rId57" Type="http://schemas.openxmlformats.org/officeDocument/2006/relationships/image" Target="../media/image27.emf"/><Relationship Id="rId40" Type="http://schemas.openxmlformats.org/officeDocument/2006/relationships/tags" Target="../tags/tag328.xml"/><Relationship Id="rId41" Type="http://schemas.openxmlformats.org/officeDocument/2006/relationships/tags" Target="../tags/tag329.xml"/><Relationship Id="rId42" Type="http://schemas.openxmlformats.org/officeDocument/2006/relationships/tags" Target="../tags/tag330.xml"/><Relationship Id="rId43" Type="http://schemas.openxmlformats.org/officeDocument/2006/relationships/tags" Target="../tags/tag331.xml"/><Relationship Id="rId44" Type="http://schemas.openxmlformats.org/officeDocument/2006/relationships/tags" Target="../tags/tag332.xml"/><Relationship Id="rId45" Type="http://schemas.openxmlformats.org/officeDocument/2006/relationships/tags" Target="../tags/tag333.xml"/><Relationship Id="rId46" Type="http://schemas.openxmlformats.org/officeDocument/2006/relationships/tags" Target="../tags/tag334.xml"/><Relationship Id="rId47" Type="http://schemas.openxmlformats.org/officeDocument/2006/relationships/tags" Target="../tags/tag335.xml"/><Relationship Id="rId48" Type="http://schemas.openxmlformats.org/officeDocument/2006/relationships/tags" Target="../tags/tag336.xml"/><Relationship Id="rId49" Type="http://schemas.openxmlformats.org/officeDocument/2006/relationships/tags" Target="../tags/tag337.xml"/><Relationship Id="rId1" Type="http://schemas.openxmlformats.org/officeDocument/2006/relationships/vmlDrawing" Target="../drawings/vmlDrawing6.vml"/><Relationship Id="rId2" Type="http://schemas.openxmlformats.org/officeDocument/2006/relationships/tags" Target="../tags/tag290.xml"/><Relationship Id="rId3" Type="http://schemas.openxmlformats.org/officeDocument/2006/relationships/tags" Target="../tags/tag291.xml"/><Relationship Id="rId4" Type="http://schemas.openxmlformats.org/officeDocument/2006/relationships/tags" Target="../tags/tag292.xml"/><Relationship Id="rId5" Type="http://schemas.openxmlformats.org/officeDocument/2006/relationships/tags" Target="../tags/tag293.xml"/><Relationship Id="rId6" Type="http://schemas.openxmlformats.org/officeDocument/2006/relationships/tags" Target="../tags/tag294.xml"/><Relationship Id="rId7" Type="http://schemas.openxmlformats.org/officeDocument/2006/relationships/tags" Target="../tags/tag295.xml"/><Relationship Id="rId8" Type="http://schemas.openxmlformats.org/officeDocument/2006/relationships/tags" Target="../tags/tag296.xml"/><Relationship Id="rId9" Type="http://schemas.openxmlformats.org/officeDocument/2006/relationships/tags" Target="../tags/tag297.xml"/><Relationship Id="rId30" Type="http://schemas.openxmlformats.org/officeDocument/2006/relationships/tags" Target="../tags/tag318.xml"/><Relationship Id="rId31" Type="http://schemas.openxmlformats.org/officeDocument/2006/relationships/tags" Target="../tags/tag319.xml"/><Relationship Id="rId32" Type="http://schemas.openxmlformats.org/officeDocument/2006/relationships/tags" Target="../tags/tag320.xml"/><Relationship Id="rId33" Type="http://schemas.openxmlformats.org/officeDocument/2006/relationships/tags" Target="../tags/tag321.xml"/><Relationship Id="rId34" Type="http://schemas.openxmlformats.org/officeDocument/2006/relationships/tags" Target="../tags/tag322.xml"/><Relationship Id="rId35" Type="http://schemas.openxmlformats.org/officeDocument/2006/relationships/tags" Target="../tags/tag323.xml"/><Relationship Id="rId36" Type="http://schemas.openxmlformats.org/officeDocument/2006/relationships/tags" Target="../tags/tag324.xml"/><Relationship Id="rId37" Type="http://schemas.openxmlformats.org/officeDocument/2006/relationships/tags" Target="../tags/tag325.xml"/><Relationship Id="rId38" Type="http://schemas.openxmlformats.org/officeDocument/2006/relationships/tags" Target="../tags/tag326.xml"/><Relationship Id="rId39" Type="http://schemas.openxmlformats.org/officeDocument/2006/relationships/tags" Target="../tags/tag327.xml"/><Relationship Id="rId20" Type="http://schemas.openxmlformats.org/officeDocument/2006/relationships/tags" Target="../tags/tag308.xml"/><Relationship Id="rId21" Type="http://schemas.openxmlformats.org/officeDocument/2006/relationships/tags" Target="../tags/tag309.xml"/><Relationship Id="rId22" Type="http://schemas.openxmlformats.org/officeDocument/2006/relationships/tags" Target="../tags/tag310.xml"/><Relationship Id="rId23" Type="http://schemas.openxmlformats.org/officeDocument/2006/relationships/tags" Target="../tags/tag311.xml"/><Relationship Id="rId24" Type="http://schemas.openxmlformats.org/officeDocument/2006/relationships/tags" Target="../tags/tag312.xml"/><Relationship Id="rId25" Type="http://schemas.openxmlformats.org/officeDocument/2006/relationships/tags" Target="../tags/tag313.xml"/><Relationship Id="rId26" Type="http://schemas.openxmlformats.org/officeDocument/2006/relationships/tags" Target="../tags/tag314.xml"/><Relationship Id="rId27" Type="http://schemas.openxmlformats.org/officeDocument/2006/relationships/tags" Target="../tags/tag315.xml"/><Relationship Id="rId28" Type="http://schemas.openxmlformats.org/officeDocument/2006/relationships/tags" Target="../tags/tag316.xml"/><Relationship Id="rId29" Type="http://schemas.openxmlformats.org/officeDocument/2006/relationships/tags" Target="../tags/tag317.xml"/><Relationship Id="rId10" Type="http://schemas.openxmlformats.org/officeDocument/2006/relationships/tags" Target="../tags/tag298.xml"/><Relationship Id="rId11" Type="http://schemas.openxmlformats.org/officeDocument/2006/relationships/tags" Target="../tags/tag299.xml"/><Relationship Id="rId12" Type="http://schemas.openxmlformats.org/officeDocument/2006/relationships/tags" Target="../tags/tag30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06" Type="http://schemas.openxmlformats.org/officeDocument/2006/relationships/tags" Target="../tags/tag444.xml"/><Relationship Id="rId107" Type="http://schemas.openxmlformats.org/officeDocument/2006/relationships/tags" Target="../tags/tag445.xml"/><Relationship Id="rId108" Type="http://schemas.openxmlformats.org/officeDocument/2006/relationships/tags" Target="../tags/tag446.xml"/><Relationship Id="rId109" Type="http://schemas.openxmlformats.org/officeDocument/2006/relationships/tags" Target="../tags/tag447.xml"/><Relationship Id="rId70" Type="http://schemas.openxmlformats.org/officeDocument/2006/relationships/tags" Target="../tags/tag408.xml"/><Relationship Id="rId71" Type="http://schemas.openxmlformats.org/officeDocument/2006/relationships/tags" Target="../tags/tag409.xml"/><Relationship Id="rId72" Type="http://schemas.openxmlformats.org/officeDocument/2006/relationships/tags" Target="../tags/tag410.xml"/><Relationship Id="rId73" Type="http://schemas.openxmlformats.org/officeDocument/2006/relationships/tags" Target="../tags/tag411.xml"/><Relationship Id="rId74" Type="http://schemas.openxmlformats.org/officeDocument/2006/relationships/tags" Target="../tags/tag412.xml"/><Relationship Id="rId75" Type="http://schemas.openxmlformats.org/officeDocument/2006/relationships/tags" Target="../tags/tag413.xml"/><Relationship Id="rId76" Type="http://schemas.openxmlformats.org/officeDocument/2006/relationships/tags" Target="../tags/tag414.xml"/><Relationship Id="rId77" Type="http://schemas.openxmlformats.org/officeDocument/2006/relationships/tags" Target="../tags/tag415.xml"/><Relationship Id="rId78" Type="http://schemas.openxmlformats.org/officeDocument/2006/relationships/tags" Target="../tags/tag416.xml"/><Relationship Id="rId79" Type="http://schemas.openxmlformats.org/officeDocument/2006/relationships/tags" Target="../tags/tag417.xml"/><Relationship Id="rId170" Type="http://schemas.openxmlformats.org/officeDocument/2006/relationships/tags" Target="../tags/tag508.xml"/><Relationship Id="rId171" Type="http://schemas.openxmlformats.org/officeDocument/2006/relationships/tags" Target="../tags/tag509.xml"/><Relationship Id="rId172" Type="http://schemas.openxmlformats.org/officeDocument/2006/relationships/tags" Target="../tags/tag510.xml"/><Relationship Id="rId173" Type="http://schemas.openxmlformats.org/officeDocument/2006/relationships/tags" Target="../tags/tag511.xml"/><Relationship Id="rId174" Type="http://schemas.openxmlformats.org/officeDocument/2006/relationships/tags" Target="../tags/tag512.xml"/><Relationship Id="rId175" Type="http://schemas.openxmlformats.org/officeDocument/2006/relationships/tags" Target="../tags/tag513.xml"/><Relationship Id="rId176" Type="http://schemas.openxmlformats.org/officeDocument/2006/relationships/tags" Target="../tags/tag514.xml"/><Relationship Id="rId177" Type="http://schemas.openxmlformats.org/officeDocument/2006/relationships/tags" Target="../tags/tag515.xml"/><Relationship Id="rId178" Type="http://schemas.openxmlformats.org/officeDocument/2006/relationships/tags" Target="../tags/tag516.xml"/><Relationship Id="rId179" Type="http://schemas.openxmlformats.org/officeDocument/2006/relationships/tags" Target="../tags/tag517.xml"/><Relationship Id="rId10" Type="http://schemas.openxmlformats.org/officeDocument/2006/relationships/tags" Target="../tags/tag348.xml"/><Relationship Id="rId11" Type="http://schemas.openxmlformats.org/officeDocument/2006/relationships/tags" Target="../tags/tag349.xml"/><Relationship Id="rId12" Type="http://schemas.openxmlformats.org/officeDocument/2006/relationships/tags" Target="../tags/tag350.xml"/><Relationship Id="rId13" Type="http://schemas.openxmlformats.org/officeDocument/2006/relationships/tags" Target="../tags/tag351.xml"/><Relationship Id="rId14" Type="http://schemas.openxmlformats.org/officeDocument/2006/relationships/tags" Target="../tags/tag352.xml"/><Relationship Id="rId15" Type="http://schemas.openxmlformats.org/officeDocument/2006/relationships/tags" Target="../tags/tag353.xml"/><Relationship Id="rId16" Type="http://schemas.openxmlformats.org/officeDocument/2006/relationships/tags" Target="../tags/tag354.xml"/><Relationship Id="rId17" Type="http://schemas.openxmlformats.org/officeDocument/2006/relationships/tags" Target="../tags/tag355.xml"/><Relationship Id="rId18" Type="http://schemas.openxmlformats.org/officeDocument/2006/relationships/tags" Target="../tags/tag356.xml"/><Relationship Id="rId19" Type="http://schemas.openxmlformats.org/officeDocument/2006/relationships/tags" Target="../tags/tag357.xml"/><Relationship Id="rId110" Type="http://schemas.openxmlformats.org/officeDocument/2006/relationships/tags" Target="../tags/tag448.xml"/><Relationship Id="rId111" Type="http://schemas.openxmlformats.org/officeDocument/2006/relationships/tags" Target="../tags/tag449.xml"/><Relationship Id="rId112" Type="http://schemas.openxmlformats.org/officeDocument/2006/relationships/tags" Target="../tags/tag450.xml"/><Relationship Id="rId113" Type="http://schemas.openxmlformats.org/officeDocument/2006/relationships/tags" Target="../tags/tag451.xml"/><Relationship Id="rId114" Type="http://schemas.openxmlformats.org/officeDocument/2006/relationships/tags" Target="../tags/tag452.xml"/><Relationship Id="rId115" Type="http://schemas.openxmlformats.org/officeDocument/2006/relationships/tags" Target="../tags/tag453.xml"/><Relationship Id="rId116" Type="http://schemas.openxmlformats.org/officeDocument/2006/relationships/tags" Target="../tags/tag454.xml"/><Relationship Id="rId117" Type="http://schemas.openxmlformats.org/officeDocument/2006/relationships/tags" Target="../tags/tag455.xml"/><Relationship Id="rId118" Type="http://schemas.openxmlformats.org/officeDocument/2006/relationships/tags" Target="../tags/tag456.xml"/><Relationship Id="rId119" Type="http://schemas.openxmlformats.org/officeDocument/2006/relationships/tags" Target="../tags/tag457.xml"/><Relationship Id="rId200" Type="http://schemas.openxmlformats.org/officeDocument/2006/relationships/tags" Target="../tags/tag538.xml"/><Relationship Id="rId201" Type="http://schemas.openxmlformats.org/officeDocument/2006/relationships/tags" Target="../tags/tag539.xml"/><Relationship Id="rId202" Type="http://schemas.openxmlformats.org/officeDocument/2006/relationships/tags" Target="../tags/tag540.xml"/><Relationship Id="rId203" Type="http://schemas.openxmlformats.org/officeDocument/2006/relationships/tags" Target="../tags/tag541.xml"/><Relationship Id="rId204" Type="http://schemas.openxmlformats.org/officeDocument/2006/relationships/tags" Target="../tags/tag542.xml"/><Relationship Id="rId205" Type="http://schemas.openxmlformats.org/officeDocument/2006/relationships/tags" Target="../tags/tag543.xml"/><Relationship Id="rId206" Type="http://schemas.openxmlformats.org/officeDocument/2006/relationships/tags" Target="../tags/tag544.xml"/><Relationship Id="rId207" Type="http://schemas.openxmlformats.org/officeDocument/2006/relationships/tags" Target="../tags/tag545.xml"/><Relationship Id="rId208" Type="http://schemas.openxmlformats.org/officeDocument/2006/relationships/tags" Target="../tags/tag546.xml"/><Relationship Id="rId209" Type="http://schemas.openxmlformats.org/officeDocument/2006/relationships/tags" Target="../tags/tag547.xml"/><Relationship Id="rId1" Type="http://schemas.openxmlformats.org/officeDocument/2006/relationships/vmlDrawing" Target="../drawings/vmlDrawing7.vml"/><Relationship Id="rId2" Type="http://schemas.openxmlformats.org/officeDocument/2006/relationships/tags" Target="../tags/tag340.xml"/><Relationship Id="rId3" Type="http://schemas.openxmlformats.org/officeDocument/2006/relationships/tags" Target="../tags/tag341.xml"/><Relationship Id="rId4" Type="http://schemas.openxmlformats.org/officeDocument/2006/relationships/tags" Target="../tags/tag342.xml"/><Relationship Id="rId5" Type="http://schemas.openxmlformats.org/officeDocument/2006/relationships/tags" Target="../tags/tag343.xml"/><Relationship Id="rId6" Type="http://schemas.openxmlformats.org/officeDocument/2006/relationships/tags" Target="../tags/tag344.xml"/><Relationship Id="rId7" Type="http://schemas.openxmlformats.org/officeDocument/2006/relationships/tags" Target="../tags/tag345.xml"/><Relationship Id="rId8" Type="http://schemas.openxmlformats.org/officeDocument/2006/relationships/tags" Target="../tags/tag346.xml"/><Relationship Id="rId9" Type="http://schemas.openxmlformats.org/officeDocument/2006/relationships/tags" Target="../tags/tag347.xml"/><Relationship Id="rId80" Type="http://schemas.openxmlformats.org/officeDocument/2006/relationships/tags" Target="../tags/tag418.xml"/><Relationship Id="rId81" Type="http://schemas.openxmlformats.org/officeDocument/2006/relationships/tags" Target="../tags/tag419.xml"/><Relationship Id="rId82" Type="http://schemas.openxmlformats.org/officeDocument/2006/relationships/tags" Target="../tags/tag420.xml"/><Relationship Id="rId83" Type="http://schemas.openxmlformats.org/officeDocument/2006/relationships/tags" Target="../tags/tag421.xml"/><Relationship Id="rId84" Type="http://schemas.openxmlformats.org/officeDocument/2006/relationships/tags" Target="../tags/tag422.xml"/><Relationship Id="rId85" Type="http://schemas.openxmlformats.org/officeDocument/2006/relationships/tags" Target="../tags/tag423.xml"/><Relationship Id="rId86" Type="http://schemas.openxmlformats.org/officeDocument/2006/relationships/tags" Target="../tags/tag424.xml"/><Relationship Id="rId87" Type="http://schemas.openxmlformats.org/officeDocument/2006/relationships/tags" Target="../tags/tag425.xml"/><Relationship Id="rId88" Type="http://schemas.openxmlformats.org/officeDocument/2006/relationships/tags" Target="../tags/tag426.xml"/><Relationship Id="rId89" Type="http://schemas.openxmlformats.org/officeDocument/2006/relationships/tags" Target="../tags/tag427.xml"/><Relationship Id="rId180" Type="http://schemas.openxmlformats.org/officeDocument/2006/relationships/tags" Target="../tags/tag518.xml"/><Relationship Id="rId181" Type="http://schemas.openxmlformats.org/officeDocument/2006/relationships/tags" Target="../tags/tag519.xml"/><Relationship Id="rId182" Type="http://schemas.openxmlformats.org/officeDocument/2006/relationships/tags" Target="../tags/tag520.xml"/><Relationship Id="rId183" Type="http://schemas.openxmlformats.org/officeDocument/2006/relationships/tags" Target="../tags/tag521.xml"/><Relationship Id="rId184" Type="http://schemas.openxmlformats.org/officeDocument/2006/relationships/tags" Target="../tags/tag522.xml"/><Relationship Id="rId185" Type="http://schemas.openxmlformats.org/officeDocument/2006/relationships/tags" Target="../tags/tag523.xml"/><Relationship Id="rId186" Type="http://schemas.openxmlformats.org/officeDocument/2006/relationships/tags" Target="../tags/tag524.xml"/><Relationship Id="rId187" Type="http://schemas.openxmlformats.org/officeDocument/2006/relationships/tags" Target="../tags/tag525.xml"/><Relationship Id="rId188" Type="http://schemas.openxmlformats.org/officeDocument/2006/relationships/tags" Target="../tags/tag526.xml"/><Relationship Id="rId189" Type="http://schemas.openxmlformats.org/officeDocument/2006/relationships/tags" Target="../tags/tag527.xml"/><Relationship Id="rId20" Type="http://schemas.openxmlformats.org/officeDocument/2006/relationships/tags" Target="../tags/tag358.xml"/><Relationship Id="rId21" Type="http://schemas.openxmlformats.org/officeDocument/2006/relationships/tags" Target="../tags/tag359.xml"/><Relationship Id="rId22" Type="http://schemas.openxmlformats.org/officeDocument/2006/relationships/tags" Target="../tags/tag360.xml"/><Relationship Id="rId23" Type="http://schemas.openxmlformats.org/officeDocument/2006/relationships/tags" Target="../tags/tag361.xml"/><Relationship Id="rId24" Type="http://schemas.openxmlformats.org/officeDocument/2006/relationships/tags" Target="../tags/tag362.xml"/><Relationship Id="rId25" Type="http://schemas.openxmlformats.org/officeDocument/2006/relationships/tags" Target="../tags/tag363.xml"/><Relationship Id="rId26" Type="http://schemas.openxmlformats.org/officeDocument/2006/relationships/tags" Target="../tags/tag364.xml"/><Relationship Id="rId27" Type="http://schemas.openxmlformats.org/officeDocument/2006/relationships/tags" Target="../tags/tag365.xml"/><Relationship Id="rId28" Type="http://schemas.openxmlformats.org/officeDocument/2006/relationships/tags" Target="../tags/tag366.xml"/><Relationship Id="rId29" Type="http://schemas.openxmlformats.org/officeDocument/2006/relationships/tags" Target="../tags/tag367.xml"/><Relationship Id="rId120" Type="http://schemas.openxmlformats.org/officeDocument/2006/relationships/tags" Target="../tags/tag458.xml"/><Relationship Id="rId121" Type="http://schemas.openxmlformats.org/officeDocument/2006/relationships/tags" Target="../tags/tag459.xml"/><Relationship Id="rId122" Type="http://schemas.openxmlformats.org/officeDocument/2006/relationships/tags" Target="../tags/tag460.xml"/><Relationship Id="rId123" Type="http://schemas.openxmlformats.org/officeDocument/2006/relationships/tags" Target="../tags/tag461.xml"/><Relationship Id="rId124" Type="http://schemas.openxmlformats.org/officeDocument/2006/relationships/tags" Target="../tags/tag462.xml"/><Relationship Id="rId125" Type="http://schemas.openxmlformats.org/officeDocument/2006/relationships/tags" Target="../tags/tag463.xml"/><Relationship Id="rId126" Type="http://schemas.openxmlformats.org/officeDocument/2006/relationships/tags" Target="../tags/tag464.xml"/><Relationship Id="rId127" Type="http://schemas.openxmlformats.org/officeDocument/2006/relationships/tags" Target="../tags/tag465.xml"/><Relationship Id="rId128" Type="http://schemas.openxmlformats.org/officeDocument/2006/relationships/tags" Target="../tags/tag466.xml"/><Relationship Id="rId129" Type="http://schemas.openxmlformats.org/officeDocument/2006/relationships/tags" Target="../tags/tag467.xml"/><Relationship Id="rId210" Type="http://schemas.openxmlformats.org/officeDocument/2006/relationships/tags" Target="../tags/tag548.xml"/><Relationship Id="rId211" Type="http://schemas.openxmlformats.org/officeDocument/2006/relationships/tags" Target="../tags/tag549.xml"/><Relationship Id="rId212" Type="http://schemas.openxmlformats.org/officeDocument/2006/relationships/tags" Target="../tags/tag550.xml"/><Relationship Id="rId213" Type="http://schemas.openxmlformats.org/officeDocument/2006/relationships/tags" Target="../tags/tag551.xml"/><Relationship Id="rId214" Type="http://schemas.openxmlformats.org/officeDocument/2006/relationships/tags" Target="../tags/tag552.xml"/><Relationship Id="rId215" Type="http://schemas.openxmlformats.org/officeDocument/2006/relationships/tags" Target="../tags/tag553.xml"/><Relationship Id="rId216" Type="http://schemas.openxmlformats.org/officeDocument/2006/relationships/tags" Target="../tags/tag554.xml"/><Relationship Id="rId217" Type="http://schemas.openxmlformats.org/officeDocument/2006/relationships/tags" Target="../tags/tag555.xml"/><Relationship Id="rId218" Type="http://schemas.openxmlformats.org/officeDocument/2006/relationships/tags" Target="../tags/tag556.xml"/><Relationship Id="rId219" Type="http://schemas.openxmlformats.org/officeDocument/2006/relationships/tags" Target="../tags/tag557.xml"/><Relationship Id="rId90" Type="http://schemas.openxmlformats.org/officeDocument/2006/relationships/tags" Target="../tags/tag428.xml"/><Relationship Id="rId91" Type="http://schemas.openxmlformats.org/officeDocument/2006/relationships/tags" Target="../tags/tag429.xml"/><Relationship Id="rId92" Type="http://schemas.openxmlformats.org/officeDocument/2006/relationships/tags" Target="../tags/tag430.xml"/><Relationship Id="rId93" Type="http://schemas.openxmlformats.org/officeDocument/2006/relationships/tags" Target="../tags/tag431.xml"/><Relationship Id="rId94" Type="http://schemas.openxmlformats.org/officeDocument/2006/relationships/tags" Target="../tags/tag432.xml"/><Relationship Id="rId95" Type="http://schemas.openxmlformats.org/officeDocument/2006/relationships/tags" Target="../tags/tag433.xml"/><Relationship Id="rId96" Type="http://schemas.openxmlformats.org/officeDocument/2006/relationships/tags" Target="../tags/tag434.xml"/><Relationship Id="rId97" Type="http://schemas.openxmlformats.org/officeDocument/2006/relationships/tags" Target="../tags/tag435.xml"/><Relationship Id="rId98" Type="http://schemas.openxmlformats.org/officeDocument/2006/relationships/tags" Target="../tags/tag436.xml"/><Relationship Id="rId99" Type="http://schemas.openxmlformats.org/officeDocument/2006/relationships/tags" Target="../tags/tag437.xml"/><Relationship Id="rId190" Type="http://schemas.openxmlformats.org/officeDocument/2006/relationships/tags" Target="../tags/tag528.xml"/><Relationship Id="rId191" Type="http://schemas.openxmlformats.org/officeDocument/2006/relationships/tags" Target="../tags/tag529.xml"/><Relationship Id="rId192" Type="http://schemas.openxmlformats.org/officeDocument/2006/relationships/tags" Target="../tags/tag530.xml"/><Relationship Id="rId193" Type="http://schemas.openxmlformats.org/officeDocument/2006/relationships/tags" Target="../tags/tag531.xml"/><Relationship Id="rId194" Type="http://schemas.openxmlformats.org/officeDocument/2006/relationships/tags" Target="../tags/tag532.xml"/><Relationship Id="rId195" Type="http://schemas.openxmlformats.org/officeDocument/2006/relationships/tags" Target="../tags/tag533.xml"/><Relationship Id="rId196" Type="http://schemas.openxmlformats.org/officeDocument/2006/relationships/tags" Target="../tags/tag534.xml"/><Relationship Id="rId197" Type="http://schemas.openxmlformats.org/officeDocument/2006/relationships/tags" Target="../tags/tag535.xml"/><Relationship Id="rId198" Type="http://schemas.openxmlformats.org/officeDocument/2006/relationships/tags" Target="../tags/tag536.xml"/><Relationship Id="rId199" Type="http://schemas.openxmlformats.org/officeDocument/2006/relationships/tags" Target="../tags/tag537.xml"/><Relationship Id="rId30" Type="http://schemas.openxmlformats.org/officeDocument/2006/relationships/tags" Target="../tags/tag368.xml"/><Relationship Id="rId31" Type="http://schemas.openxmlformats.org/officeDocument/2006/relationships/tags" Target="../tags/tag369.xml"/><Relationship Id="rId32" Type="http://schemas.openxmlformats.org/officeDocument/2006/relationships/tags" Target="../tags/tag370.xml"/><Relationship Id="rId33" Type="http://schemas.openxmlformats.org/officeDocument/2006/relationships/tags" Target="../tags/tag371.xml"/><Relationship Id="rId34" Type="http://schemas.openxmlformats.org/officeDocument/2006/relationships/tags" Target="../tags/tag372.xml"/><Relationship Id="rId35" Type="http://schemas.openxmlformats.org/officeDocument/2006/relationships/tags" Target="../tags/tag373.xml"/><Relationship Id="rId36" Type="http://schemas.openxmlformats.org/officeDocument/2006/relationships/tags" Target="../tags/tag374.xml"/><Relationship Id="rId37" Type="http://schemas.openxmlformats.org/officeDocument/2006/relationships/tags" Target="../tags/tag375.xml"/><Relationship Id="rId38" Type="http://schemas.openxmlformats.org/officeDocument/2006/relationships/tags" Target="../tags/tag376.xml"/><Relationship Id="rId39" Type="http://schemas.openxmlformats.org/officeDocument/2006/relationships/tags" Target="../tags/tag377.xml"/><Relationship Id="rId130" Type="http://schemas.openxmlformats.org/officeDocument/2006/relationships/tags" Target="../tags/tag468.xml"/><Relationship Id="rId131" Type="http://schemas.openxmlformats.org/officeDocument/2006/relationships/tags" Target="../tags/tag469.xml"/><Relationship Id="rId132" Type="http://schemas.openxmlformats.org/officeDocument/2006/relationships/tags" Target="../tags/tag470.xml"/><Relationship Id="rId133" Type="http://schemas.openxmlformats.org/officeDocument/2006/relationships/tags" Target="../tags/tag471.xml"/><Relationship Id="rId220" Type="http://schemas.openxmlformats.org/officeDocument/2006/relationships/tags" Target="../tags/tag558.xml"/><Relationship Id="rId221" Type="http://schemas.openxmlformats.org/officeDocument/2006/relationships/tags" Target="../tags/tag559.xml"/><Relationship Id="rId222" Type="http://schemas.openxmlformats.org/officeDocument/2006/relationships/tags" Target="../tags/tag560.xml"/><Relationship Id="rId223" Type="http://schemas.openxmlformats.org/officeDocument/2006/relationships/tags" Target="../tags/tag561.xml"/><Relationship Id="rId224" Type="http://schemas.openxmlformats.org/officeDocument/2006/relationships/tags" Target="../tags/tag562.xml"/><Relationship Id="rId225" Type="http://schemas.openxmlformats.org/officeDocument/2006/relationships/tags" Target="../tags/tag563.xml"/><Relationship Id="rId226" Type="http://schemas.openxmlformats.org/officeDocument/2006/relationships/tags" Target="../tags/tag564.xml"/><Relationship Id="rId227" Type="http://schemas.openxmlformats.org/officeDocument/2006/relationships/tags" Target="../tags/tag565.xml"/><Relationship Id="rId228" Type="http://schemas.openxmlformats.org/officeDocument/2006/relationships/tags" Target="../tags/tag566.xml"/><Relationship Id="rId229" Type="http://schemas.openxmlformats.org/officeDocument/2006/relationships/tags" Target="../tags/tag567.xml"/><Relationship Id="rId134" Type="http://schemas.openxmlformats.org/officeDocument/2006/relationships/tags" Target="../tags/tag472.xml"/><Relationship Id="rId135" Type="http://schemas.openxmlformats.org/officeDocument/2006/relationships/tags" Target="../tags/tag473.xml"/><Relationship Id="rId136" Type="http://schemas.openxmlformats.org/officeDocument/2006/relationships/tags" Target="../tags/tag474.xml"/><Relationship Id="rId137" Type="http://schemas.openxmlformats.org/officeDocument/2006/relationships/tags" Target="../tags/tag475.xml"/><Relationship Id="rId138" Type="http://schemas.openxmlformats.org/officeDocument/2006/relationships/tags" Target="../tags/tag476.xml"/><Relationship Id="rId139" Type="http://schemas.openxmlformats.org/officeDocument/2006/relationships/tags" Target="../tags/tag477.xml"/><Relationship Id="rId40" Type="http://schemas.openxmlformats.org/officeDocument/2006/relationships/tags" Target="../tags/tag378.xml"/><Relationship Id="rId41" Type="http://schemas.openxmlformats.org/officeDocument/2006/relationships/tags" Target="../tags/tag379.xml"/><Relationship Id="rId42" Type="http://schemas.openxmlformats.org/officeDocument/2006/relationships/tags" Target="../tags/tag380.xml"/><Relationship Id="rId43" Type="http://schemas.openxmlformats.org/officeDocument/2006/relationships/tags" Target="../tags/tag381.xml"/><Relationship Id="rId44" Type="http://schemas.openxmlformats.org/officeDocument/2006/relationships/tags" Target="../tags/tag382.xml"/><Relationship Id="rId45" Type="http://schemas.openxmlformats.org/officeDocument/2006/relationships/tags" Target="../tags/tag383.xml"/><Relationship Id="rId46" Type="http://schemas.openxmlformats.org/officeDocument/2006/relationships/tags" Target="../tags/tag384.xml"/><Relationship Id="rId47" Type="http://schemas.openxmlformats.org/officeDocument/2006/relationships/tags" Target="../tags/tag385.xml"/><Relationship Id="rId48" Type="http://schemas.openxmlformats.org/officeDocument/2006/relationships/tags" Target="../tags/tag386.xml"/><Relationship Id="rId49" Type="http://schemas.openxmlformats.org/officeDocument/2006/relationships/tags" Target="../tags/tag387.xml"/><Relationship Id="rId140" Type="http://schemas.openxmlformats.org/officeDocument/2006/relationships/tags" Target="../tags/tag478.xml"/><Relationship Id="rId141" Type="http://schemas.openxmlformats.org/officeDocument/2006/relationships/tags" Target="../tags/tag479.xml"/><Relationship Id="rId142" Type="http://schemas.openxmlformats.org/officeDocument/2006/relationships/tags" Target="../tags/tag480.xml"/><Relationship Id="rId143" Type="http://schemas.openxmlformats.org/officeDocument/2006/relationships/tags" Target="../tags/tag481.xml"/><Relationship Id="rId144" Type="http://schemas.openxmlformats.org/officeDocument/2006/relationships/tags" Target="../tags/tag482.xml"/><Relationship Id="rId145" Type="http://schemas.openxmlformats.org/officeDocument/2006/relationships/tags" Target="../tags/tag483.xml"/><Relationship Id="rId146" Type="http://schemas.openxmlformats.org/officeDocument/2006/relationships/tags" Target="../tags/tag484.xml"/><Relationship Id="rId147" Type="http://schemas.openxmlformats.org/officeDocument/2006/relationships/tags" Target="../tags/tag485.xml"/><Relationship Id="rId148" Type="http://schemas.openxmlformats.org/officeDocument/2006/relationships/tags" Target="../tags/tag486.xml"/><Relationship Id="rId149" Type="http://schemas.openxmlformats.org/officeDocument/2006/relationships/tags" Target="../tags/tag487.xml"/><Relationship Id="rId230" Type="http://schemas.openxmlformats.org/officeDocument/2006/relationships/tags" Target="../tags/tag568.xml"/><Relationship Id="rId231" Type="http://schemas.openxmlformats.org/officeDocument/2006/relationships/tags" Target="../tags/tag569.xml"/><Relationship Id="rId232" Type="http://schemas.openxmlformats.org/officeDocument/2006/relationships/tags" Target="../tags/tag570.xml"/><Relationship Id="rId233" Type="http://schemas.openxmlformats.org/officeDocument/2006/relationships/tags" Target="../tags/tag571.xml"/><Relationship Id="rId234" Type="http://schemas.openxmlformats.org/officeDocument/2006/relationships/tags" Target="../tags/tag572.xml"/><Relationship Id="rId235" Type="http://schemas.openxmlformats.org/officeDocument/2006/relationships/tags" Target="../tags/tag573.xml"/><Relationship Id="rId236" Type="http://schemas.openxmlformats.org/officeDocument/2006/relationships/tags" Target="../tags/tag574.xml"/><Relationship Id="rId237" Type="http://schemas.openxmlformats.org/officeDocument/2006/relationships/tags" Target="../tags/tag575.xml"/><Relationship Id="rId238" Type="http://schemas.openxmlformats.org/officeDocument/2006/relationships/tags" Target="../tags/tag576.xml"/><Relationship Id="rId239" Type="http://schemas.openxmlformats.org/officeDocument/2006/relationships/tags" Target="../tags/tag577.xml"/><Relationship Id="rId50" Type="http://schemas.openxmlformats.org/officeDocument/2006/relationships/tags" Target="../tags/tag388.xml"/><Relationship Id="rId51" Type="http://schemas.openxmlformats.org/officeDocument/2006/relationships/tags" Target="../tags/tag389.xml"/><Relationship Id="rId52" Type="http://schemas.openxmlformats.org/officeDocument/2006/relationships/tags" Target="../tags/tag390.xml"/><Relationship Id="rId53" Type="http://schemas.openxmlformats.org/officeDocument/2006/relationships/tags" Target="../tags/tag391.xml"/><Relationship Id="rId54" Type="http://schemas.openxmlformats.org/officeDocument/2006/relationships/tags" Target="../tags/tag392.xml"/><Relationship Id="rId55" Type="http://schemas.openxmlformats.org/officeDocument/2006/relationships/tags" Target="../tags/tag393.xml"/><Relationship Id="rId56" Type="http://schemas.openxmlformats.org/officeDocument/2006/relationships/tags" Target="../tags/tag394.xml"/><Relationship Id="rId57" Type="http://schemas.openxmlformats.org/officeDocument/2006/relationships/tags" Target="../tags/tag395.xml"/><Relationship Id="rId58" Type="http://schemas.openxmlformats.org/officeDocument/2006/relationships/tags" Target="../tags/tag396.xml"/><Relationship Id="rId59" Type="http://schemas.openxmlformats.org/officeDocument/2006/relationships/tags" Target="../tags/tag397.xml"/><Relationship Id="rId150" Type="http://schemas.openxmlformats.org/officeDocument/2006/relationships/tags" Target="../tags/tag488.xml"/><Relationship Id="rId151" Type="http://schemas.openxmlformats.org/officeDocument/2006/relationships/tags" Target="../tags/tag489.xml"/><Relationship Id="rId152" Type="http://schemas.openxmlformats.org/officeDocument/2006/relationships/tags" Target="../tags/tag490.xml"/><Relationship Id="rId153" Type="http://schemas.openxmlformats.org/officeDocument/2006/relationships/tags" Target="../tags/tag491.xml"/><Relationship Id="rId154" Type="http://schemas.openxmlformats.org/officeDocument/2006/relationships/tags" Target="../tags/tag492.xml"/><Relationship Id="rId155" Type="http://schemas.openxmlformats.org/officeDocument/2006/relationships/tags" Target="../tags/tag493.xml"/><Relationship Id="rId156" Type="http://schemas.openxmlformats.org/officeDocument/2006/relationships/tags" Target="../tags/tag494.xml"/><Relationship Id="rId157" Type="http://schemas.openxmlformats.org/officeDocument/2006/relationships/tags" Target="../tags/tag495.xml"/><Relationship Id="rId158" Type="http://schemas.openxmlformats.org/officeDocument/2006/relationships/tags" Target="../tags/tag496.xml"/><Relationship Id="rId159" Type="http://schemas.openxmlformats.org/officeDocument/2006/relationships/tags" Target="../tags/tag497.xml"/><Relationship Id="rId240" Type="http://schemas.openxmlformats.org/officeDocument/2006/relationships/tags" Target="../tags/tag578.xml"/><Relationship Id="rId241" Type="http://schemas.openxmlformats.org/officeDocument/2006/relationships/tags" Target="../tags/tag579.xml"/><Relationship Id="rId242" Type="http://schemas.openxmlformats.org/officeDocument/2006/relationships/tags" Target="../tags/tag580.xml"/><Relationship Id="rId243" Type="http://schemas.openxmlformats.org/officeDocument/2006/relationships/tags" Target="../tags/tag581.xml"/><Relationship Id="rId244" Type="http://schemas.openxmlformats.org/officeDocument/2006/relationships/tags" Target="../tags/tag582.xml"/><Relationship Id="rId245" Type="http://schemas.openxmlformats.org/officeDocument/2006/relationships/tags" Target="../tags/tag583.xml"/><Relationship Id="rId246" Type="http://schemas.openxmlformats.org/officeDocument/2006/relationships/tags" Target="../tags/tag584.xml"/><Relationship Id="rId247" Type="http://schemas.openxmlformats.org/officeDocument/2006/relationships/tags" Target="../tags/tag585.xml"/><Relationship Id="rId248" Type="http://schemas.openxmlformats.org/officeDocument/2006/relationships/tags" Target="../tags/tag586.xml"/><Relationship Id="rId249" Type="http://schemas.openxmlformats.org/officeDocument/2006/relationships/tags" Target="../tags/tag587.xml"/><Relationship Id="rId60" Type="http://schemas.openxmlformats.org/officeDocument/2006/relationships/tags" Target="../tags/tag398.xml"/><Relationship Id="rId61" Type="http://schemas.openxmlformats.org/officeDocument/2006/relationships/tags" Target="../tags/tag399.xml"/><Relationship Id="rId62" Type="http://schemas.openxmlformats.org/officeDocument/2006/relationships/tags" Target="../tags/tag400.xml"/><Relationship Id="rId63" Type="http://schemas.openxmlformats.org/officeDocument/2006/relationships/tags" Target="../tags/tag401.xml"/><Relationship Id="rId64" Type="http://schemas.openxmlformats.org/officeDocument/2006/relationships/tags" Target="../tags/tag402.xml"/><Relationship Id="rId65" Type="http://schemas.openxmlformats.org/officeDocument/2006/relationships/tags" Target="../tags/tag403.xml"/><Relationship Id="rId66" Type="http://schemas.openxmlformats.org/officeDocument/2006/relationships/tags" Target="../tags/tag404.xml"/><Relationship Id="rId67" Type="http://schemas.openxmlformats.org/officeDocument/2006/relationships/tags" Target="../tags/tag405.xml"/><Relationship Id="rId68" Type="http://schemas.openxmlformats.org/officeDocument/2006/relationships/tags" Target="../tags/tag406.xml"/><Relationship Id="rId69" Type="http://schemas.openxmlformats.org/officeDocument/2006/relationships/tags" Target="../tags/tag407.xml"/><Relationship Id="rId160" Type="http://schemas.openxmlformats.org/officeDocument/2006/relationships/tags" Target="../tags/tag498.xml"/><Relationship Id="rId161" Type="http://schemas.openxmlformats.org/officeDocument/2006/relationships/tags" Target="../tags/tag499.xml"/><Relationship Id="rId162" Type="http://schemas.openxmlformats.org/officeDocument/2006/relationships/tags" Target="../tags/tag500.xml"/><Relationship Id="rId163" Type="http://schemas.openxmlformats.org/officeDocument/2006/relationships/tags" Target="../tags/tag501.xml"/><Relationship Id="rId164" Type="http://schemas.openxmlformats.org/officeDocument/2006/relationships/tags" Target="../tags/tag502.xml"/><Relationship Id="rId165" Type="http://schemas.openxmlformats.org/officeDocument/2006/relationships/tags" Target="../tags/tag503.xml"/><Relationship Id="rId166" Type="http://schemas.openxmlformats.org/officeDocument/2006/relationships/tags" Target="../tags/tag504.xml"/><Relationship Id="rId167" Type="http://schemas.openxmlformats.org/officeDocument/2006/relationships/tags" Target="../tags/tag505.xml"/><Relationship Id="rId168" Type="http://schemas.openxmlformats.org/officeDocument/2006/relationships/tags" Target="../tags/tag506.xml"/><Relationship Id="rId169" Type="http://schemas.openxmlformats.org/officeDocument/2006/relationships/tags" Target="../tags/tag507.xml"/><Relationship Id="rId250" Type="http://schemas.openxmlformats.org/officeDocument/2006/relationships/slideLayout" Target="../slideLayouts/slideLayout7.xml"/><Relationship Id="rId251" Type="http://schemas.openxmlformats.org/officeDocument/2006/relationships/notesSlide" Target="../notesSlides/notesSlide5.xml"/><Relationship Id="rId252" Type="http://schemas.openxmlformats.org/officeDocument/2006/relationships/oleObject" Target="../embeddings/oleObject10.bin"/><Relationship Id="rId253" Type="http://schemas.openxmlformats.org/officeDocument/2006/relationships/image" Target="../media/image23.emf"/><Relationship Id="rId254" Type="http://schemas.openxmlformats.org/officeDocument/2006/relationships/oleObject" Target="../embeddings/oleObject11.bin"/><Relationship Id="rId255" Type="http://schemas.openxmlformats.org/officeDocument/2006/relationships/image" Target="../media/image28.emf"/><Relationship Id="rId100" Type="http://schemas.openxmlformats.org/officeDocument/2006/relationships/tags" Target="../tags/tag438.xml"/><Relationship Id="rId101" Type="http://schemas.openxmlformats.org/officeDocument/2006/relationships/tags" Target="../tags/tag439.xml"/><Relationship Id="rId102" Type="http://schemas.openxmlformats.org/officeDocument/2006/relationships/tags" Target="../tags/tag440.xml"/><Relationship Id="rId103" Type="http://schemas.openxmlformats.org/officeDocument/2006/relationships/tags" Target="../tags/tag441.xml"/><Relationship Id="rId104" Type="http://schemas.openxmlformats.org/officeDocument/2006/relationships/tags" Target="../tags/tag442.xml"/><Relationship Id="rId105" Type="http://schemas.openxmlformats.org/officeDocument/2006/relationships/tags" Target="../tags/tag443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599.xml"/><Relationship Id="rId14" Type="http://schemas.openxmlformats.org/officeDocument/2006/relationships/tags" Target="../tags/tag600.xml"/><Relationship Id="rId15" Type="http://schemas.openxmlformats.org/officeDocument/2006/relationships/tags" Target="../tags/tag601.xml"/><Relationship Id="rId16" Type="http://schemas.openxmlformats.org/officeDocument/2006/relationships/tags" Target="../tags/tag602.xml"/><Relationship Id="rId17" Type="http://schemas.openxmlformats.org/officeDocument/2006/relationships/tags" Target="../tags/tag603.xml"/><Relationship Id="rId18" Type="http://schemas.openxmlformats.org/officeDocument/2006/relationships/tags" Target="../tags/tag604.xml"/><Relationship Id="rId19" Type="http://schemas.openxmlformats.org/officeDocument/2006/relationships/tags" Target="../tags/tag605.xml"/><Relationship Id="rId50" Type="http://schemas.openxmlformats.org/officeDocument/2006/relationships/tags" Target="../tags/tag636.xml"/><Relationship Id="rId51" Type="http://schemas.openxmlformats.org/officeDocument/2006/relationships/tags" Target="../tags/tag637.xml"/><Relationship Id="rId52" Type="http://schemas.openxmlformats.org/officeDocument/2006/relationships/slideLayout" Target="../slideLayouts/slideLayout7.xml"/><Relationship Id="rId53" Type="http://schemas.openxmlformats.org/officeDocument/2006/relationships/notesSlide" Target="../notesSlides/notesSlide6.xml"/><Relationship Id="rId54" Type="http://schemas.openxmlformats.org/officeDocument/2006/relationships/oleObject" Target="../embeddings/oleObject12.bin"/><Relationship Id="rId55" Type="http://schemas.openxmlformats.org/officeDocument/2006/relationships/image" Target="../media/image23.emf"/><Relationship Id="rId56" Type="http://schemas.openxmlformats.org/officeDocument/2006/relationships/oleObject" Target="../embeddings/oleObject13.bin"/><Relationship Id="rId57" Type="http://schemas.openxmlformats.org/officeDocument/2006/relationships/image" Target="../media/image29.emf"/><Relationship Id="rId40" Type="http://schemas.openxmlformats.org/officeDocument/2006/relationships/tags" Target="../tags/tag626.xml"/><Relationship Id="rId41" Type="http://schemas.openxmlformats.org/officeDocument/2006/relationships/tags" Target="../tags/tag627.xml"/><Relationship Id="rId42" Type="http://schemas.openxmlformats.org/officeDocument/2006/relationships/tags" Target="../tags/tag628.xml"/><Relationship Id="rId43" Type="http://schemas.openxmlformats.org/officeDocument/2006/relationships/tags" Target="../tags/tag629.xml"/><Relationship Id="rId44" Type="http://schemas.openxmlformats.org/officeDocument/2006/relationships/tags" Target="../tags/tag630.xml"/><Relationship Id="rId45" Type="http://schemas.openxmlformats.org/officeDocument/2006/relationships/tags" Target="../tags/tag631.xml"/><Relationship Id="rId46" Type="http://schemas.openxmlformats.org/officeDocument/2006/relationships/tags" Target="../tags/tag632.xml"/><Relationship Id="rId47" Type="http://schemas.openxmlformats.org/officeDocument/2006/relationships/tags" Target="../tags/tag633.xml"/><Relationship Id="rId48" Type="http://schemas.openxmlformats.org/officeDocument/2006/relationships/tags" Target="../tags/tag634.xml"/><Relationship Id="rId49" Type="http://schemas.openxmlformats.org/officeDocument/2006/relationships/tags" Target="../tags/tag635.xml"/><Relationship Id="rId1" Type="http://schemas.openxmlformats.org/officeDocument/2006/relationships/vmlDrawing" Target="../drawings/vmlDrawing8.vml"/><Relationship Id="rId2" Type="http://schemas.openxmlformats.org/officeDocument/2006/relationships/tags" Target="../tags/tag588.xml"/><Relationship Id="rId3" Type="http://schemas.openxmlformats.org/officeDocument/2006/relationships/tags" Target="../tags/tag589.xml"/><Relationship Id="rId4" Type="http://schemas.openxmlformats.org/officeDocument/2006/relationships/tags" Target="../tags/tag590.xml"/><Relationship Id="rId5" Type="http://schemas.openxmlformats.org/officeDocument/2006/relationships/tags" Target="../tags/tag591.xml"/><Relationship Id="rId6" Type="http://schemas.openxmlformats.org/officeDocument/2006/relationships/tags" Target="../tags/tag592.xml"/><Relationship Id="rId7" Type="http://schemas.openxmlformats.org/officeDocument/2006/relationships/tags" Target="../tags/tag593.xml"/><Relationship Id="rId8" Type="http://schemas.openxmlformats.org/officeDocument/2006/relationships/tags" Target="../tags/tag594.xml"/><Relationship Id="rId9" Type="http://schemas.openxmlformats.org/officeDocument/2006/relationships/tags" Target="../tags/tag595.xml"/><Relationship Id="rId30" Type="http://schemas.openxmlformats.org/officeDocument/2006/relationships/tags" Target="../tags/tag616.xml"/><Relationship Id="rId31" Type="http://schemas.openxmlformats.org/officeDocument/2006/relationships/tags" Target="../tags/tag617.xml"/><Relationship Id="rId32" Type="http://schemas.openxmlformats.org/officeDocument/2006/relationships/tags" Target="../tags/tag618.xml"/><Relationship Id="rId33" Type="http://schemas.openxmlformats.org/officeDocument/2006/relationships/tags" Target="../tags/tag619.xml"/><Relationship Id="rId34" Type="http://schemas.openxmlformats.org/officeDocument/2006/relationships/tags" Target="../tags/tag620.xml"/><Relationship Id="rId35" Type="http://schemas.openxmlformats.org/officeDocument/2006/relationships/tags" Target="../tags/tag621.xml"/><Relationship Id="rId36" Type="http://schemas.openxmlformats.org/officeDocument/2006/relationships/tags" Target="../tags/tag622.xml"/><Relationship Id="rId37" Type="http://schemas.openxmlformats.org/officeDocument/2006/relationships/tags" Target="../tags/tag623.xml"/><Relationship Id="rId38" Type="http://schemas.openxmlformats.org/officeDocument/2006/relationships/tags" Target="../tags/tag624.xml"/><Relationship Id="rId39" Type="http://schemas.openxmlformats.org/officeDocument/2006/relationships/tags" Target="../tags/tag625.xml"/><Relationship Id="rId20" Type="http://schemas.openxmlformats.org/officeDocument/2006/relationships/tags" Target="../tags/tag606.xml"/><Relationship Id="rId21" Type="http://schemas.openxmlformats.org/officeDocument/2006/relationships/tags" Target="../tags/tag607.xml"/><Relationship Id="rId22" Type="http://schemas.openxmlformats.org/officeDocument/2006/relationships/tags" Target="../tags/tag608.xml"/><Relationship Id="rId23" Type="http://schemas.openxmlformats.org/officeDocument/2006/relationships/tags" Target="../tags/tag609.xml"/><Relationship Id="rId24" Type="http://schemas.openxmlformats.org/officeDocument/2006/relationships/tags" Target="../tags/tag610.xml"/><Relationship Id="rId25" Type="http://schemas.openxmlformats.org/officeDocument/2006/relationships/tags" Target="../tags/tag611.xml"/><Relationship Id="rId26" Type="http://schemas.openxmlformats.org/officeDocument/2006/relationships/tags" Target="../tags/tag612.xml"/><Relationship Id="rId27" Type="http://schemas.openxmlformats.org/officeDocument/2006/relationships/tags" Target="../tags/tag613.xml"/><Relationship Id="rId28" Type="http://schemas.openxmlformats.org/officeDocument/2006/relationships/tags" Target="../tags/tag614.xml"/><Relationship Id="rId29" Type="http://schemas.openxmlformats.org/officeDocument/2006/relationships/tags" Target="../tags/tag615.xml"/><Relationship Id="rId10" Type="http://schemas.openxmlformats.org/officeDocument/2006/relationships/tags" Target="../tags/tag596.xml"/><Relationship Id="rId11" Type="http://schemas.openxmlformats.org/officeDocument/2006/relationships/tags" Target="../tags/tag597.xml"/><Relationship Id="rId12" Type="http://schemas.openxmlformats.org/officeDocument/2006/relationships/tags" Target="../tags/tag59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649.xml"/><Relationship Id="rId14" Type="http://schemas.openxmlformats.org/officeDocument/2006/relationships/tags" Target="../tags/tag650.xml"/><Relationship Id="rId15" Type="http://schemas.openxmlformats.org/officeDocument/2006/relationships/tags" Target="../tags/tag651.xml"/><Relationship Id="rId16" Type="http://schemas.openxmlformats.org/officeDocument/2006/relationships/tags" Target="../tags/tag652.xml"/><Relationship Id="rId17" Type="http://schemas.openxmlformats.org/officeDocument/2006/relationships/tags" Target="../tags/tag653.xml"/><Relationship Id="rId18" Type="http://schemas.openxmlformats.org/officeDocument/2006/relationships/tags" Target="../tags/tag654.xml"/><Relationship Id="rId19" Type="http://schemas.openxmlformats.org/officeDocument/2006/relationships/tags" Target="../tags/tag655.xml"/><Relationship Id="rId63" Type="http://schemas.openxmlformats.org/officeDocument/2006/relationships/tags" Target="../tags/tag699.xml"/><Relationship Id="rId64" Type="http://schemas.openxmlformats.org/officeDocument/2006/relationships/tags" Target="../tags/tag700.xml"/><Relationship Id="rId65" Type="http://schemas.openxmlformats.org/officeDocument/2006/relationships/tags" Target="../tags/tag701.xml"/><Relationship Id="rId66" Type="http://schemas.openxmlformats.org/officeDocument/2006/relationships/tags" Target="../tags/tag702.xml"/><Relationship Id="rId67" Type="http://schemas.openxmlformats.org/officeDocument/2006/relationships/tags" Target="../tags/tag703.xml"/><Relationship Id="rId68" Type="http://schemas.openxmlformats.org/officeDocument/2006/relationships/tags" Target="../tags/tag704.xml"/><Relationship Id="rId69" Type="http://schemas.openxmlformats.org/officeDocument/2006/relationships/tags" Target="../tags/tag705.xml"/><Relationship Id="rId50" Type="http://schemas.openxmlformats.org/officeDocument/2006/relationships/tags" Target="../tags/tag686.xml"/><Relationship Id="rId51" Type="http://schemas.openxmlformats.org/officeDocument/2006/relationships/tags" Target="../tags/tag687.xml"/><Relationship Id="rId52" Type="http://schemas.openxmlformats.org/officeDocument/2006/relationships/tags" Target="../tags/tag688.xml"/><Relationship Id="rId53" Type="http://schemas.openxmlformats.org/officeDocument/2006/relationships/tags" Target="../tags/tag689.xml"/><Relationship Id="rId54" Type="http://schemas.openxmlformats.org/officeDocument/2006/relationships/tags" Target="../tags/tag690.xml"/><Relationship Id="rId55" Type="http://schemas.openxmlformats.org/officeDocument/2006/relationships/tags" Target="../tags/tag691.xml"/><Relationship Id="rId56" Type="http://schemas.openxmlformats.org/officeDocument/2006/relationships/tags" Target="../tags/tag692.xml"/><Relationship Id="rId57" Type="http://schemas.openxmlformats.org/officeDocument/2006/relationships/tags" Target="../tags/tag693.xml"/><Relationship Id="rId58" Type="http://schemas.openxmlformats.org/officeDocument/2006/relationships/tags" Target="../tags/tag694.xml"/><Relationship Id="rId59" Type="http://schemas.openxmlformats.org/officeDocument/2006/relationships/tags" Target="../tags/tag695.xml"/><Relationship Id="rId40" Type="http://schemas.openxmlformats.org/officeDocument/2006/relationships/tags" Target="../tags/tag676.xml"/><Relationship Id="rId41" Type="http://schemas.openxmlformats.org/officeDocument/2006/relationships/tags" Target="../tags/tag677.xml"/><Relationship Id="rId42" Type="http://schemas.openxmlformats.org/officeDocument/2006/relationships/tags" Target="../tags/tag678.xml"/><Relationship Id="rId43" Type="http://schemas.openxmlformats.org/officeDocument/2006/relationships/tags" Target="../tags/tag679.xml"/><Relationship Id="rId44" Type="http://schemas.openxmlformats.org/officeDocument/2006/relationships/tags" Target="../tags/tag680.xml"/><Relationship Id="rId45" Type="http://schemas.openxmlformats.org/officeDocument/2006/relationships/tags" Target="../tags/tag681.xml"/><Relationship Id="rId46" Type="http://schemas.openxmlformats.org/officeDocument/2006/relationships/tags" Target="../tags/tag682.xml"/><Relationship Id="rId47" Type="http://schemas.openxmlformats.org/officeDocument/2006/relationships/tags" Target="../tags/tag683.xml"/><Relationship Id="rId48" Type="http://schemas.openxmlformats.org/officeDocument/2006/relationships/tags" Target="../tags/tag684.xml"/><Relationship Id="rId49" Type="http://schemas.openxmlformats.org/officeDocument/2006/relationships/tags" Target="../tags/tag685.xml"/><Relationship Id="rId1" Type="http://schemas.openxmlformats.org/officeDocument/2006/relationships/vmlDrawing" Target="../drawings/vmlDrawing9.vml"/><Relationship Id="rId2" Type="http://schemas.openxmlformats.org/officeDocument/2006/relationships/tags" Target="../tags/tag638.xml"/><Relationship Id="rId3" Type="http://schemas.openxmlformats.org/officeDocument/2006/relationships/tags" Target="../tags/tag639.xml"/><Relationship Id="rId4" Type="http://schemas.openxmlformats.org/officeDocument/2006/relationships/tags" Target="../tags/tag640.xml"/><Relationship Id="rId5" Type="http://schemas.openxmlformats.org/officeDocument/2006/relationships/tags" Target="../tags/tag641.xml"/><Relationship Id="rId6" Type="http://schemas.openxmlformats.org/officeDocument/2006/relationships/tags" Target="../tags/tag642.xml"/><Relationship Id="rId7" Type="http://schemas.openxmlformats.org/officeDocument/2006/relationships/tags" Target="../tags/tag643.xml"/><Relationship Id="rId8" Type="http://schemas.openxmlformats.org/officeDocument/2006/relationships/tags" Target="../tags/tag644.xml"/><Relationship Id="rId9" Type="http://schemas.openxmlformats.org/officeDocument/2006/relationships/tags" Target="../tags/tag645.xml"/><Relationship Id="rId30" Type="http://schemas.openxmlformats.org/officeDocument/2006/relationships/tags" Target="../tags/tag666.xml"/><Relationship Id="rId31" Type="http://schemas.openxmlformats.org/officeDocument/2006/relationships/tags" Target="../tags/tag667.xml"/><Relationship Id="rId32" Type="http://schemas.openxmlformats.org/officeDocument/2006/relationships/tags" Target="../tags/tag668.xml"/><Relationship Id="rId33" Type="http://schemas.openxmlformats.org/officeDocument/2006/relationships/tags" Target="../tags/tag669.xml"/><Relationship Id="rId34" Type="http://schemas.openxmlformats.org/officeDocument/2006/relationships/tags" Target="../tags/tag670.xml"/><Relationship Id="rId35" Type="http://schemas.openxmlformats.org/officeDocument/2006/relationships/tags" Target="../tags/tag671.xml"/><Relationship Id="rId36" Type="http://schemas.openxmlformats.org/officeDocument/2006/relationships/tags" Target="../tags/tag672.xml"/><Relationship Id="rId37" Type="http://schemas.openxmlformats.org/officeDocument/2006/relationships/tags" Target="../tags/tag673.xml"/><Relationship Id="rId38" Type="http://schemas.openxmlformats.org/officeDocument/2006/relationships/tags" Target="../tags/tag674.xml"/><Relationship Id="rId39" Type="http://schemas.openxmlformats.org/officeDocument/2006/relationships/tags" Target="../tags/tag675.xml"/><Relationship Id="rId70" Type="http://schemas.openxmlformats.org/officeDocument/2006/relationships/tags" Target="../tags/tag706.xml"/><Relationship Id="rId71" Type="http://schemas.openxmlformats.org/officeDocument/2006/relationships/slideLayout" Target="../slideLayouts/slideLayout7.xml"/><Relationship Id="rId72" Type="http://schemas.openxmlformats.org/officeDocument/2006/relationships/notesSlide" Target="../notesSlides/notesSlide7.xml"/><Relationship Id="rId20" Type="http://schemas.openxmlformats.org/officeDocument/2006/relationships/tags" Target="../tags/tag656.xml"/><Relationship Id="rId21" Type="http://schemas.openxmlformats.org/officeDocument/2006/relationships/tags" Target="../tags/tag657.xml"/><Relationship Id="rId22" Type="http://schemas.openxmlformats.org/officeDocument/2006/relationships/tags" Target="../tags/tag658.xml"/><Relationship Id="rId23" Type="http://schemas.openxmlformats.org/officeDocument/2006/relationships/tags" Target="../tags/tag659.xml"/><Relationship Id="rId24" Type="http://schemas.openxmlformats.org/officeDocument/2006/relationships/tags" Target="../tags/tag660.xml"/><Relationship Id="rId25" Type="http://schemas.openxmlformats.org/officeDocument/2006/relationships/tags" Target="../tags/tag661.xml"/><Relationship Id="rId26" Type="http://schemas.openxmlformats.org/officeDocument/2006/relationships/tags" Target="../tags/tag662.xml"/><Relationship Id="rId27" Type="http://schemas.openxmlformats.org/officeDocument/2006/relationships/tags" Target="../tags/tag663.xml"/><Relationship Id="rId28" Type="http://schemas.openxmlformats.org/officeDocument/2006/relationships/tags" Target="../tags/tag664.xml"/><Relationship Id="rId29" Type="http://schemas.openxmlformats.org/officeDocument/2006/relationships/tags" Target="../tags/tag665.xml"/><Relationship Id="rId73" Type="http://schemas.openxmlformats.org/officeDocument/2006/relationships/oleObject" Target="../embeddings/oleObject14.bin"/><Relationship Id="rId74" Type="http://schemas.openxmlformats.org/officeDocument/2006/relationships/image" Target="../media/image23.emf"/><Relationship Id="rId75" Type="http://schemas.openxmlformats.org/officeDocument/2006/relationships/oleObject" Target="../embeddings/oleObject15.bin"/><Relationship Id="rId76" Type="http://schemas.openxmlformats.org/officeDocument/2006/relationships/image" Target="../media/image30.emf"/><Relationship Id="rId60" Type="http://schemas.openxmlformats.org/officeDocument/2006/relationships/tags" Target="../tags/tag696.xml"/><Relationship Id="rId61" Type="http://schemas.openxmlformats.org/officeDocument/2006/relationships/tags" Target="../tags/tag697.xml"/><Relationship Id="rId62" Type="http://schemas.openxmlformats.org/officeDocument/2006/relationships/tags" Target="../tags/tag698.xml"/><Relationship Id="rId10" Type="http://schemas.openxmlformats.org/officeDocument/2006/relationships/tags" Target="../tags/tag646.xml"/><Relationship Id="rId11" Type="http://schemas.openxmlformats.org/officeDocument/2006/relationships/tags" Target="../tags/tag647.xml"/><Relationship Id="rId12" Type="http://schemas.openxmlformats.org/officeDocument/2006/relationships/tags" Target="../tags/tag64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0" Type="http://schemas.openxmlformats.org/officeDocument/2006/relationships/tags" Target="../tags/tag725.xml"/><Relationship Id="rId21" Type="http://schemas.openxmlformats.org/officeDocument/2006/relationships/tags" Target="../tags/tag726.xml"/><Relationship Id="rId22" Type="http://schemas.openxmlformats.org/officeDocument/2006/relationships/tags" Target="../tags/tag727.xml"/><Relationship Id="rId23" Type="http://schemas.openxmlformats.org/officeDocument/2006/relationships/tags" Target="../tags/tag728.xml"/><Relationship Id="rId24" Type="http://schemas.openxmlformats.org/officeDocument/2006/relationships/tags" Target="../tags/tag729.xml"/><Relationship Id="rId25" Type="http://schemas.openxmlformats.org/officeDocument/2006/relationships/tags" Target="../tags/tag730.xml"/><Relationship Id="rId26" Type="http://schemas.openxmlformats.org/officeDocument/2006/relationships/tags" Target="../tags/tag731.xml"/><Relationship Id="rId27" Type="http://schemas.openxmlformats.org/officeDocument/2006/relationships/tags" Target="../tags/tag732.xml"/><Relationship Id="rId28" Type="http://schemas.openxmlformats.org/officeDocument/2006/relationships/tags" Target="../tags/tag733.xml"/><Relationship Id="rId29" Type="http://schemas.openxmlformats.org/officeDocument/2006/relationships/tags" Target="../tags/tag734.xml"/><Relationship Id="rId1" Type="http://schemas.openxmlformats.org/officeDocument/2006/relationships/vmlDrawing" Target="../drawings/vmlDrawing10.vml"/><Relationship Id="rId2" Type="http://schemas.openxmlformats.org/officeDocument/2006/relationships/tags" Target="../tags/tag707.xml"/><Relationship Id="rId3" Type="http://schemas.openxmlformats.org/officeDocument/2006/relationships/tags" Target="../tags/tag708.xml"/><Relationship Id="rId4" Type="http://schemas.openxmlformats.org/officeDocument/2006/relationships/tags" Target="../tags/tag709.xml"/><Relationship Id="rId5" Type="http://schemas.openxmlformats.org/officeDocument/2006/relationships/tags" Target="../tags/tag710.xml"/><Relationship Id="rId30" Type="http://schemas.openxmlformats.org/officeDocument/2006/relationships/tags" Target="../tags/tag735.xml"/><Relationship Id="rId31" Type="http://schemas.openxmlformats.org/officeDocument/2006/relationships/slideLayout" Target="../slideLayouts/slideLayout2.xml"/><Relationship Id="rId32" Type="http://schemas.openxmlformats.org/officeDocument/2006/relationships/oleObject" Target="../embeddings/oleObject16.bin"/><Relationship Id="rId9" Type="http://schemas.openxmlformats.org/officeDocument/2006/relationships/tags" Target="../tags/tag714.xml"/><Relationship Id="rId6" Type="http://schemas.openxmlformats.org/officeDocument/2006/relationships/tags" Target="../tags/tag711.xml"/><Relationship Id="rId7" Type="http://schemas.openxmlformats.org/officeDocument/2006/relationships/tags" Target="../tags/tag712.xml"/><Relationship Id="rId8" Type="http://schemas.openxmlformats.org/officeDocument/2006/relationships/tags" Target="../tags/tag713.xml"/><Relationship Id="rId33" Type="http://schemas.openxmlformats.org/officeDocument/2006/relationships/image" Target="../media/image23.emf"/><Relationship Id="rId34" Type="http://schemas.openxmlformats.org/officeDocument/2006/relationships/oleObject" Target="../embeddings/oleObject17.bin"/><Relationship Id="rId35" Type="http://schemas.openxmlformats.org/officeDocument/2006/relationships/image" Target="../media/image31.emf"/><Relationship Id="rId36" Type="http://schemas.openxmlformats.org/officeDocument/2006/relationships/oleObject" Target="../embeddings/oleObject18.bin"/><Relationship Id="rId10" Type="http://schemas.openxmlformats.org/officeDocument/2006/relationships/tags" Target="../tags/tag715.xml"/><Relationship Id="rId11" Type="http://schemas.openxmlformats.org/officeDocument/2006/relationships/tags" Target="../tags/tag716.xml"/><Relationship Id="rId12" Type="http://schemas.openxmlformats.org/officeDocument/2006/relationships/tags" Target="../tags/tag717.xml"/><Relationship Id="rId13" Type="http://schemas.openxmlformats.org/officeDocument/2006/relationships/tags" Target="../tags/tag718.xml"/><Relationship Id="rId14" Type="http://schemas.openxmlformats.org/officeDocument/2006/relationships/tags" Target="../tags/tag719.xml"/><Relationship Id="rId15" Type="http://schemas.openxmlformats.org/officeDocument/2006/relationships/tags" Target="../tags/tag720.xml"/><Relationship Id="rId16" Type="http://schemas.openxmlformats.org/officeDocument/2006/relationships/tags" Target="../tags/tag721.xml"/><Relationship Id="rId17" Type="http://schemas.openxmlformats.org/officeDocument/2006/relationships/tags" Target="../tags/tag722.xml"/><Relationship Id="rId18" Type="http://schemas.openxmlformats.org/officeDocument/2006/relationships/tags" Target="../tags/tag723.xml"/><Relationship Id="rId19" Type="http://schemas.openxmlformats.org/officeDocument/2006/relationships/tags" Target="../tags/tag724.xml"/><Relationship Id="rId37" Type="http://schemas.openxmlformats.org/officeDocument/2006/relationships/image" Target="../media/image32.emf"/><Relationship Id="rId38" Type="http://schemas.openxmlformats.org/officeDocument/2006/relationships/oleObject" Target="../embeddings/oleObject19.bin"/><Relationship Id="rId39" Type="http://schemas.openxmlformats.org/officeDocument/2006/relationships/image" Target="../media/image33.em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tags" Target="../tags/tag736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34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chart" Target="../charts/chart1.xml"/><Relationship Id="rId1" Type="http://schemas.openxmlformats.org/officeDocument/2006/relationships/tags" Target="../tags/tag737.xml"/><Relationship Id="rId2" Type="http://schemas.openxmlformats.org/officeDocument/2006/relationships/tags" Target="../tags/tag73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5.JP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36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1000884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18" b="9765"/>
          <a:stretch/>
        </p:blipFill>
        <p:spPr>
          <a:xfrm>
            <a:off x="0" y="-17859"/>
            <a:ext cx="9144000" cy="4616648"/>
          </a:xfrm>
          <a:prstGeom prst="rect">
            <a:avLst/>
          </a:prstGeom>
        </p:spPr>
      </p:pic>
      <p:sp>
        <p:nvSpPr>
          <p:cNvPr id="8" name="Rectangle 3"/>
          <p:cNvSpPr>
            <a:spLocks/>
          </p:cNvSpPr>
          <p:nvPr/>
        </p:nvSpPr>
        <p:spPr bwMode="auto">
          <a:xfrm>
            <a:off x="0" y="-17859"/>
            <a:ext cx="9206508" cy="4616648"/>
          </a:xfrm>
          <a:prstGeom prst="rect">
            <a:avLst/>
          </a:prstGeom>
          <a:solidFill>
            <a:srgbClr val="000000">
              <a:alpha val="5803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>
                    <a:alpha val="58038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86" name="Rectangle 2"/>
          <p:cNvSpPr>
            <a:spLocks/>
          </p:cNvSpPr>
          <p:nvPr/>
        </p:nvSpPr>
        <p:spPr bwMode="auto">
          <a:xfrm>
            <a:off x="-35719" y="4598789"/>
            <a:ext cx="9215438" cy="2259211"/>
          </a:xfrm>
          <a:prstGeom prst="rect">
            <a:avLst/>
          </a:prstGeom>
          <a:solidFill>
            <a:srgbClr val="FFA3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88" name="AutoShape 4"/>
          <p:cNvSpPr>
            <a:spLocks/>
          </p:cNvSpPr>
          <p:nvPr/>
        </p:nvSpPr>
        <p:spPr bwMode="auto">
          <a:xfrm rot="21511543" flipH="1">
            <a:off x="580430" y="4186908"/>
            <a:ext cx="1794867" cy="626194"/>
          </a:xfrm>
          <a:prstGeom prst="triangle">
            <a:avLst>
              <a:gd name="adj" fmla="val 50000"/>
            </a:avLst>
          </a:prstGeom>
          <a:solidFill>
            <a:srgbClr val="FFA3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89" name="Rectangle 5"/>
          <p:cNvSpPr>
            <a:spLocks/>
          </p:cNvSpPr>
          <p:nvPr/>
        </p:nvSpPr>
        <p:spPr bwMode="auto">
          <a:xfrm>
            <a:off x="660797" y="1285875"/>
            <a:ext cx="8197453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6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Good News from Pakistan</a:t>
            </a:r>
            <a:endParaRPr lang="en-US" sz="6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sp>
        <p:nvSpPr>
          <p:cNvPr id="16391" name="Rectangle 7"/>
          <p:cNvSpPr>
            <a:spLocks/>
          </p:cNvSpPr>
          <p:nvPr/>
        </p:nvSpPr>
        <p:spPr bwMode="auto">
          <a:xfrm>
            <a:off x="1419820" y="4969696"/>
            <a:ext cx="6295430" cy="1035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/>
            <a:r>
              <a:rPr lang="en-US" sz="2500" b="1" dirty="0">
                <a:solidFill>
                  <a:srgbClr val="FFFFFF"/>
                </a:solidFill>
                <a:latin typeface="Helvetica" charset="0"/>
                <a:ea typeface="ＭＳ Ｐゴシック" charset="0"/>
                <a:sym typeface="Helvetica" charset="0"/>
              </a:rPr>
              <a:t>SIR MICHAEL BARBER</a:t>
            </a:r>
          </a:p>
          <a:p>
            <a:pPr algn="l"/>
            <a:endParaRPr lang="en-US" sz="2500" dirty="0">
              <a:solidFill>
                <a:srgbClr val="FFFFFF"/>
              </a:solidFill>
              <a:latin typeface="Helvetica" charset="0"/>
              <a:ea typeface="ＭＳ Ｐゴシック" charset="0"/>
              <a:sym typeface="Helvetica" charset="0"/>
            </a:endParaRPr>
          </a:p>
          <a:p>
            <a:pPr algn="l"/>
            <a:r>
              <a:rPr lang="en-US" sz="2500" dirty="0" smtClean="0">
                <a:solidFill>
                  <a:srgbClr val="FFFFFF"/>
                </a:solidFill>
                <a:latin typeface="Helvetica" charset="0"/>
                <a:ea typeface="ＭＳ Ｐゴシック" charset="0"/>
                <a:sym typeface="Helvetica" charset="0"/>
              </a:rPr>
              <a:t>Brookings Institution</a:t>
            </a:r>
            <a:endParaRPr lang="en-US" sz="2500" dirty="0">
              <a:solidFill>
                <a:srgbClr val="FFFFFF"/>
              </a:solidFill>
              <a:latin typeface="Helvetica" charset="0"/>
              <a:ea typeface="ＭＳ Ｐゴシック" charset="0"/>
              <a:sym typeface="Helvetica" charset="0"/>
            </a:endParaRPr>
          </a:p>
          <a:p>
            <a:pPr algn="l"/>
            <a:r>
              <a:rPr lang="en-US" sz="2500" dirty="0" smtClean="0">
                <a:solidFill>
                  <a:srgbClr val="FFFFFF"/>
                </a:solidFill>
                <a:latin typeface="Helvetica" charset="0"/>
                <a:ea typeface="ＭＳ Ｐゴシック" charset="0"/>
                <a:sym typeface="Helvetica" charset="0"/>
              </a:rPr>
              <a:t>6 June </a:t>
            </a:r>
            <a:r>
              <a:rPr lang="en-US" sz="2500" dirty="0" smtClean="0">
                <a:solidFill>
                  <a:srgbClr val="FFFFFF"/>
                </a:solidFill>
                <a:latin typeface="Helvetica" charset="0"/>
                <a:ea typeface="ＭＳ Ｐゴシック" charset="0"/>
                <a:sym typeface="Helvetica" charset="0"/>
              </a:rPr>
              <a:t>2013</a:t>
            </a:r>
            <a:endParaRPr lang="en-US" sz="2500" dirty="0">
              <a:solidFill>
                <a:srgbClr val="FFFFFF"/>
              </a:solidFill>
              <a:latin typeface="Helvetica" charset="0"/>
              <a:ea typeface="ＭＳ Ｐゴシック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62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1844842"/>
            <a:ext cx="8608079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We </a:t>
            </a:r>
            <a:r>
              <a:rPr lang="en-US" sz="4000" b="1" dirty="0">
                <a:solidFill>
                  <a:srgbClr val="F2F2F2"/>
                </a:solidFill>
                <a:latin typeface="Gill Sans"/>
                <a:cs typeface="Gill Sans"/>
              </a:rPr>
              <a:t>have pain in every bone in our bodies from working so hard, but want the Roadmap to continue because... it is nation-</a:t>
            </a:r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building.</a:t>
            </a:r>
          </a:p>
          <a:p>
            <a:pPr algn="ctr"/>
            <a:endParaRPr lang="en-US" sz="2300" i="1" dirty="0" smtClean="0">
              <a:solidFill>
                <a:srgbClr val="F2F2F2"/>
              </a:solidFill>
              <a:latin typeface="Gill Sans"/>
              <a:cs typeface="Gill Sans"/>
            </a:endParaRPr>
          </a:p>
          <a:p>
            <a:pPr algn="r"/>
            <a:r>
              <a:rPr lang="en-US" sz="2300" i="1" dirty="0" smtClean="0">
                <a:solidFill>
                  <a:srgbClr val="F2F2F2"/>
                </a:solidFill>
                <a:latin typeface="Gill Sans"/>
                <a:cs typeface="Gill Sans"/>
              </a:rPr>
              <a:t>An </a:t>
            </a:r>
            <a:r>
              <a:rPr lang="en-US" sz="2300" i="1" dirty="0">
                <a:solidFill>
                  <a:srgbClr val="F2F2F2"/>
                </a:solidFill>
                <a:latin typeface="Gill Sans"/>
                <a:cs typeface="Gill Sans"/>
              </a:rPr>
              <a:t>Executive District Officer (EDO</a:t>
            </a:r>
            <a:r>
              <a:rPr lang="en-US" sz="2300" i="1" dirty="0" smtClean="0">
                <a:solidFill>
                  <a:srgbClr val="F2F2F2"/>
                </a:solidFill>
                <a:latin typeface="Gill Sans"/>
                <a:cs typeface="Gill Sans"/>
              </a:rPr>
              <a:t>)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297964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2546647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643420" y="5560515"/>
            <a:ext cx="8336978" cy="65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9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Routines</a:t>
            </a:r>
            <a:endParaRPr lang="en-US" sz="9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pic>
        <p:nvPicPr>
          <p:cNvPr id="7" name="Picture 8" descr="IMG_913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912"/>
          <a:stretch/>
        </p:blipFill>
        <p:spPr bwMode="auto">
          <a:xfrm>
            <a:off x="-1" y="-13365"/>
            <a:ext cx="9139535" cy="5426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548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2391720"/>
            <a:ext cx="8608079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Government </a:t>
            </a:r>
            <a:r>
              <a:rPr lang="en-US" sz="4000" b="1" dirty="0">
                <a:solidFill>
                  <a:srgbClr val="F2F2F2"/>
                </a:solidFill>
                <a:latin typeface="Gill Sans"/>
                <a:cs typeface="Gill Sans"/>
              </a:rPr>
              <a:t>is driven by crises and events but it’s routines that deliver </a:t>
            </a:r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results</a:t>
            </a:r>
            <a:r>
              <a:rPr lang="en-US" sz="4000" b="1" dirty="0">
                <a:solidFill>
                  <a:srgbClr val="F2F2F2"/>
                </a:solidFill>
                <a:latin typeface="Gill Sans"/>
                <a:cs typeface="Gill Sans"/>
              </a:rPr>
              <a:t>.</a:t>
            </a:r>
            <a:endParaRPr lang="en-US" sz="4000" b="1" dirty="0" smtClean="0">
              <a:solidFill>
                <a:srgbClr val="F2F2F2"/>
              </a:solidFill>
              <a:latin typeface="Gill Sans"/>
              <a:cs typeface="Gill Sans"/>
            </a:endParaRPr>
          </a:p>
          <a:p>
            <a:pPr algn="r"/>
            <a:r>
              <a:rPr lang="en-US" sz="2300" i="1" dirty="0" smtClean="0">
                <a:solidFill>
                  <a:srgbClr val="F2F2F2"/>
                </a:solidFill>
                <a:latin typeface="Gill Sans"/>
                <a:cs typeface="Gill Sans"/>
              </a:rPr>
              <a:t>Sir Michael Barber, Instruction </a:t>
            </a:r>
            <a:r>
              <a:rPr lang="en-US" sz="2300" i="1" dirty="0">
                <a:solidFill>
                  <a:srgbClr val="F2F2F2"/>
                </a:solidFill>
                <a:latin typeface="Gill Sans"/>
                <a:cs typeface="Gill Sans"/>
              </a:rPr>
              <a:t>to </a:t>
            </a:r>
            <a:r>
              <a:rPr lang="en-US" sz="2300" i="1" dirty="0" smtClean="0">
                <a:solidFill>
                  <a:srgbClr val="F2F2F2"/>
                </a:solidFill>
                <a:latin typeface="Gill Sans"/>
                <a:cs typeface="Gill Sans"/>
              </a:rPr>
              <a:t>Deliver 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31701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1566" y="234863"/>
            <a:ext cx="8794113" cy="376834"/>
          </a:xfrm>
          <a:prstGeom prst="rect">
            <a:avLst/>
          </a:prstGeom>
        </p:spPr>
        <p:txBody>
          <a:bodyPr lIns="92549" tIns="46280" rIns="92549" bIns="46280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00000"/>
              </a:buClr>
              <a:buFont typeface="Arial" charset="0"/>
              <a:buNone/>
            </a:pPr>
            <a:r>
              <a:rPr lang="en-GB" sz="2400" dirty="0" smtClean="0">
                <a:solidFill>
                  <a:srgbClr val="000000"/>
                </a:solidFill>
                <a:latin typeface="Verdana"/>
                <a:cs typeface="Verdana"/>
              </a:rPr>
              <a:t>The Routines</a:t>
            </a:r>
            <a:endParaRPr lang="en-GB" sz="2400" dirty="0">
              <a:solidFill>
                <a:srgbClr val="000000"/>
              </a:solidFill>
              <a:latin typeface="Verdana"/>
              <a:cs typeface="Verdana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839304" y="3232467"/>
            <a:ext cx="7255566" cy="971317"/>
            <a:chOff x="839304" y="3191816"/>
            <a:chExt cx="7255566" cy="971317"/>
          </a:xfrm>
        </p:grpSpPr>
        <p:sp>
          <p:nvSpPr>
            <p:cNvPr id="5" name="Rectangle 2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626227" y="3489057"/>
              <a:ext cx="5468643" cy="376834"/>
            </a:xfrm>
            <a:prstGeom prst="rect">
              <a:avLst/>
            </a:prstGeom>
          </p:spPr>
          <p:txBody>
            <a:bodyPr lIns="92549" tIns="46280" rIns="92549" bIns="46280"/>
            <a:lstStyle>
              <a:lvl1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GB" sz="2400" dirty="0" smtClean="0">
                  <a:solidFill>
                    <a:srgbClr val="000000"/>
                  </a:solidFill>
                  <a:latin typeface="Verdana"/>
                  <a:cs typeface="Verdana"/>
                </a:rPr>
                <a:t>Reviewing Roadmap Actions</a:t>
              </a:r>
            </a:p>
          </p:txBody>
        </p:sp>
        <p:pic>
          <p:nvPicPr>
            <p:cNvPr id="8" name="Picture 7" descr="P1000847.JPG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794"/>
            <a:stretch/>
          </p:blipFill>
          <p:spPr>
            <a:xfrm>
              <a:off x="839304" y="3191816"/>
              <a:ext cx="1656000" cy="971317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839304" y="2110323"/>
            <a:ext cx="7255566" cy="972000"/>
            <a:chOff x="839304" y="2098510"/>
            <a:chExt cx="7255566" cy="972000"/>
          </a:xfrm>
        </p:grpSpPr>
        <p:sp>
          <p:nvSpPr>
            <p:cNvPr id="4" name="Rectangle 2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626227" y="2409586"/>
              <a:ext cx="5468643" cy="376834"/>
            </a:xfrm>
            <a:prstGeom prst="rect">
              <a:avLst/>
            </a:prstGeom>
          </p:spPr>
          <p:txBody>
            <a:bodyPr lIns="92549" tIns="46280" rIns="92549" bIns="46280"/>
            <a:lstStyle>
              <a:lvl1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GB" sz="2400" dirty="0" smtClean="0">
                  <a:solidFill>
                    <a:srgbClr val="000000"/>
                  </a:solidFill>
                  <a:latin typeface="Verdana"/>
                  <a:cs typeface="Verdana"/>
                </a:rPr>
                <a:t>The Team on the Ground</a:t>
              </a:r>
            </a:p>
          </p:txBody>
        </p:sp>
        <p:pic>
          <p:nvPicPr>
            <p:cNvPr id="9" name="Picture 8" descr="P1000896.JPG"/>
            <p:cNvPicPr>
              <a:picLocks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401"/>
            <a:stretch/>
          </p:blipFill>
          <p:spPr>
            <a:xfrm>
              <a:off x="839304" y="2098510"/>
              <a:ext cx="1656000" cy="972000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829599" y="4326942"/>
            <a:ext cx="7265271" cy="972000"/>
            <a:chOff x="829599" y="4293587"/>
            <a:chExt cx="7265271" cy="972000"/>
          </a:xfrm>
        </p:grpSpPr>
        <p:sp>
          <p:nvSpPr>
            <p:cNvPr id="6" name="Rectangle 2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26227" y="4596816"/>
              <a:ext cx="5468643" cy="376834"/>
            </a:xfrm>
            <a:prstGeom prst="rect">
              <a:avLst/>
            </a:prstGeom>
          </p:spPr>
          <p:txBody>
            <a:bodyPr lIns="92549" tIns="46280" rIns="92549" bIns="46280"/>
            <a:lstStyle>
              <a:lvl1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GB" sz="2400" dirty="0" smtClean="0">
                  <a:solidFill>
                    <a:srgbClr val="000000"/>
                  </a:solidFill>
                  <a:latin typeface="Verdana"/>
                  <a:cs typeface="Verdana"/>
                </a:rPr>
                <a:t>The Stocktake</a:t>
              </a:r>
            </a:p>
          </p:txBody>
        </p:sp>
        <p:pic>
          <p:nvPicPr>
            <p:cNvPr id="10" name="Picture 8" descr="IMG_9132"/>
            <p:cNvPicPr>
              <a:picLocks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912"/>
            <a:stretch/>
          </p:blipFill>
          <p:spPr bwMode="auto">
            <a:xfrm>
              <a:off x="829599" y="4293587"/>
              <a:ext cx="1656000" cy="97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839303" y="5433390"/>
            <a:ext cx="7255567" cy="972000"/>
            <a:chOff x="839303" y="5433390"/>
            <a:chExt cx="7255567" cy="972000"/>
          </a:xfrm>
        </p:grpSpPr>
        <p:sp>
          <p:nvSpPr>
            <p:cNvPr id="7" name="Rectangle 2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626227" y="5749432"/>
              <a:ext cx="5468643" cy="376834"/>
            </a:xfrm>
            <a:prstGeom prst="rect">
              <a:avLst/>
            </a:prstGeom>
          </p:spPr>
          <p:txBody>
            <a:bodyPr lIns="92549" tIns="46280" rIns="92549" bIns="46280"/>
            <a:lstStyle>
              <a:lvl1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GB" sz="2400" dirty="0" smtClean="0">
                  <a:solidFill>
                    <a:srgbClr val="000000"/>
                  </a:solidFill>
                  <a:latin typeface="Verdana"/>
                  <a:cs typeface="Verdana"/>
                </a:rPr>
                <a:t>Absolute Discipline</a:t>
              </a:r>
            </a:p>
          </p:txBody>
        </p:sp>
        <p:pic>
          <p:nvPicPr>
            <p:cNvPr id="12" name="Picture 11" descr="P1000884.JPG"/>
            <p:cNvPicPr>
              <a:picLocks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79" b="10189"/>
            <a:stretch/>
          </p:blipFill>
          <p:spPr>
            <a:xfrm>
              <a:off x="839303" y="5433390"/>
              <a:ext cx="1656000" cy="97200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833135" y="979165"/>
            <a:ext cx="7261735" cy="972000"/>
            <a:chOff x="833135" y="1056470"/>
            <a:chExt cx="7261735" cy="972000"/>
          </a:xfrm>
        </p:grpSpPr>
        <p:sp>
          <p:nvSpPr>
            <p:cNvPr id="3" name="Rectangle 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626227" y="1372053"/>
              <a:ext cx="5468643" cy="376834"/>
            </a:xfrm>
            <a:prstGeom prst="rect">
              <a:avLst/>
            </a:prstGeom>
          </p:spPr>
          <p:txBody>
            <a:bodyPr lIns="92549" tIns="46280" rIns="92549" bIns="46280"/>
            <a:lstStyle>
              <a:lvl1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fontAlgn="base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GB" sz="2400" dirty="0" smtClean="0">
                  <a:solidFill>
                    <a:srgbClr val="000000"/>
                  </a:solidFill>
                  <a:latin typeface="Verdana"/>
                  <a:cs typeface="Verdana"/>
                </a:rPr>
                <a:t>Leadership Commitment</a:t>
              </a:r>
            </a:p>
          </p:txBody>
        </p:sp>
        <p:pic>
          <p:nvPicPr>
            <p:cNvPr id="13" name="Picture 11" descr="GGPS GUJ"/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3" cstate="email">
              <a:lum bright="20000" contrast="1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135" y="1056470"/>
              <a:ext cx="1656000" cy="97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5162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3"/>
          <p:cNvSpPr>
            <a:spLocks/>
          </p:cNvSpPr>
          <p:nvPr/>
        </p:nvSpPr>
        <p:spPr bwMode="auto">
          <a:xfrm>
            <a:off x="-164353" y="0"/>
            <a:ext cx="9459868" cy="932580"/>
          </a:xfrm>
          <a:prstGeom prst="rect">
            <a:avLst/>
          </a:prstGeom>
          <a:solidFill>
            <a:srgbClr val="FFA3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ctr" defTabSz="93296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Medium"/>
              <a:ea typeface="ヒラギノ角ゴ ProN W3" charset="0"/>
              <a:cs typeface="DIN Medium"/>
              <a:sym typeface="Gill Sans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21566" y="234941"/>
            <a:ext cx="8794113" cy="871423"/>
          </a:xfrm>
          <a:prstGeom prst="rect">
            <a:avLst/>
          </a:prstGeom>
        </p:spPr>
        <p:txBody>
          <a:bodyPr lIns="92549" tIns="46280" rIns="92549" bIns="46280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  <a:buNone/>
            </a:pPr>
            <a:r>
              <a:rPr lang="en-GB" sz="2900" dirty="0"/>
              <a:t>5 K</a:t>
            </a:r>
            <a:r>
              <a:rPr lang="en-GB" sz="2900" dirty="0" smtClean="0"/>
              <a:t>ey </a:t>
            </a:r>
            <a:r>
              <a:rPr lang="en-GB" sz="2900" dirty="0"/>
              <a:t>Q</a:t>
            </a:r>
            <a:r>
              <a:rPr lang="en-GB" sz="2900" dirty="0" smtClean="0"/>
              <a:t>uestions </a:t>
            </a:r>
            <a:r>
              <a:rPr lang="en-GB" sz="2900" dirty="0"/>
              <a:t>for </a:t>
            </a:r>
            <a:r>
              <a:rPr lang="en-GB" sz="2900" dirty="0" smtClean="0"/>
              <a:t>Delivery</a:t>
            </a:r>
            <a:endParaRPr lang="en-GB" sz="2900" dirty="0"/>
          </a:p>
        </p:txBody>
      </p:sp>
      <p:sp>
        <p:nvSpPr>
          <p:cNvPr id="4" name="TextBox 3"/>
          <p:cNvSpPr txBox="1"/>
          <p:nvPr/>
        </p:nvSpPr>
        <p:spPr>
          <a:xfrm>
            <a:off x="121566" y="932580"/>
            <a:ext cx="3011762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latin typeface="DIN Medium"/>
                <a:cs typeface="DIN Medium"/>
              </a:rPr>
              <a:t>1. What are you trying to do?</a:t>
            </a:r>
            <a:endParaRPr lang="en-US" sz="1600" b="1" dirty="0">
              <a:latin typeface="DIN Medium"/>
              <a:cs typeface="DIN Medium"/>
            </a:endParaRPr>
          </a:p>
          <a:p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224422" y="932580"/>
            <a:ext cx="4572000" cy="5847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Clear priorities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Specific, measurable goals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21566" y="1650112"/>
            <a:ext cx="392906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latin typeface="DIN Medium"/>
                <a:cs typeface="DIN Medium"/>
              </a:rPr>
              <a:t>2. How are you trying to do it?</a:t>
            </a:r>
            <a:endParaRPr lang="en-US" sz="1600" b="1" dirty="0">
              <a:latin typeface="DIN Medium"/>
              <a:cs typeface="DIN Medium"/>
            </a:endParaRPr>
          </a:p>
          <a:p>
            <a:r>
              <a:rPr lang="en-US" sz="1600" b="1" dirty="0">
                <a:latin typeface="DIN Medium"/>
                <a:cs typeface="DIN Medium"/>
              </a:rPr>
              <a:t> </a:t>
            </a:r>
          </a:p>
        </p:txBody>
      </p:sp>
      <p:sp>
        <p:nvSpPr>
          <p:cNvPr id="5" name="Rectangle 4"/>
          <p:cNvSpPr/>
          <p:nvPr/>
        </p:nvSpPr>
        <p:spPr>
          <a:xfrm>
            <a:off x="4224422" y="1650112"/>
            <a:ext cx="4572000" cy="5847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Clear, practical plans which are used regularly and </a:t>
            </a:r>
            <a:r>
              <a:rPr lang="en-GB" sz="1600" b="1" dirty="0" smtClean="0">
                <a:latin typeface="DIN Medium"/>
                <a:cs typeface="DIN Medium"/>
              </a:rPr>
              <a:t>updated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1566" y="2471054"/>
            <a:ext cx="392906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latin typeface="DIN Medium"/>
                <a:cs typeface="DIN Medium"/>
              </a:rPr>
              <a:t>3. How, at any given moment, will you know whether you are on track</a:t>
            </a:r>
            <a:r>
              <a:rPr lang="en-GB" sz="1600" b="1" dirty="0" smtClean="0">
                <a:latin typeface="DIN Medium"/>
                <a:cs typeface="DIN Medium"/>
              </a:rPr>
              <a:t>?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224422" y="2471054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Good, steady, close to real-time data on key indicators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Monitoring routines (such as stocktake meetings) with all key players </a:t>
            </a:r>
            <a:r>
              <a:rPr lang="en-GB" sz="1600" b="1" dirty="0" smtClean="0">
                <a:latin typeface="DIN Medium"/>
                <a:cs typeface="DIN Medium"/>
              </a:rPr>
              <a:t>involved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1566" y="3783315"/>
            <a:ext cx="392906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latin typeface="DIN Medium"/>
                <a:cs typeface="DIN Medium"/>
              </a:rPr>
              <a:t>4. If you are not on track, what are you going to do about it</a:t>
            </a:r>
            <a:r>
              <a:rPr lang="en-GB" sz="1600" b="1" dirty="0" smtClean="0">
                <a:latin typeface="DIN Medium"/>
                <a:cs typeface="DIN Medium"/>
              </a:rPr>
              <a:t>?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224422" y="3783315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Agreed actions, followed up, tested in practice and refined if necessary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Always try something. Never neglect a problem once </a:t>
            </a:r>
            <a:r>
              <a:rPr lang="en-GB" sz="1600" b="1" dirty="0" smtClean="0">
                <a:latin typeface="DIN Medium"/>
                <a:cs typeface="DIN Medium"/>
              </a:rPr>
              <a:t>identified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1566" y="5196175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b="1" dirty="0">
                <a:latin typeface="DIN Medium"/>
                <a:cs typeface="DIN Medium"/>
              </a:rPr>
              <a:t>5. Can we help</a:t>
            </a:r>
            <a:r>
              <a:rPr lang="en-GB" sz="1600" b="1" dirty="0" smtClean="0">
                <a:latin typeface="DIN Medium"/>
                <a:cs typeface="DIN Medium"/>
              </a:rPr>
              <a:t>?</a:t>
            </a:r>
            <a:endParaRPr lang="en-US" sz="1600" b="1" dirty="0">
              <a:latin typeface="DIN Medium"/>
              <a:cs typeface="DIN Medium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224422" y="5196175"/>
            <a:ext cx="491957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Constant ambition, refusal to </a:t>
            </a:r>
            <a:r>
              <a:rPr lang="en-GB" sz="1600" b="1" dirty="0" smtClean="0">
                <a:latin typeface="DIN Medium"/>
                <a:cs typeface="DIN Medium"/>
              </a:rPr>
              <a:t>give </a:t>
            </a:r>
            <a:r>
              <a:rPr lang="en-GB" sz="1600" b="1" dirty="0">
                <a:latin typeface="DIN Medium"/>
                <a:cs typeface="DIN Medium"/>
              </a:rPr>
              <a:t>up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Focus on the goals, no distractions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Maintaining the routines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Analysis and problem-solving where required</a:t>
            </a:r>
            <a:endParaRPr lang="en-US" sz="1600" b="1" dirty="0">
              <a:latin typeface="DIN Medium"/>
              <a:cs typeface="DIN Medium"/>
            </a:endParaRPr>
          </a:p>
          <a:p>
            <a:pPr marL="285750" lvl="0" indent="-285750">
              <a:buFont typeface="Arial"/>
              <a:buChar char="•"/>
            </a:pPr>
            <a:r>
              <a:rPr lang="en-GB" sz="1600" b="1" dirty="0">
                <a:latin typeface="DIN Medium"/>
                <a:cs typeface="DIN Medium"/>
              </a:rPr>
              <a:t>Bringing to bear lessons from </a:t>
            </a:r>
            <a:r>
              <a:rPr lang="en-GB" sz="1600" b="1" dirty="0" smtClean="0">
                <a:latin typeface="DIN Medium"/>
                <a:cs typeface="DIN Medium"/>
              </a:rPr>
              <a:t>elsewhere</a:t>
            </a:r>
            <a:endParaRPr lang="en-US" sz="1600" b="1" dirty="0">
              <a:latin typeface="DIN Medium"/>
              <a:cs typeface="DIN Medium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136983" y="1562179"/>
            <a:ext cx="8674856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  <p:cxnSp>
        <p:nvCxnSpPr>
          <p:cNvPr id="19" name="Straight Connector 18"/>
          <p:cNvCxnSpPr/>
          <p:nvPr/>
        </p:nvCxnSpPr>
        <p:spPr bwMode="auto">
          <a:xfrm>
            <a:off x="136983" y="2354416"/>
            <a:ext cx="8674856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  <p:cxnSp>
        <p:nvCxnSpPr>
          <p:cNvPr id="20" name="Straight Connector 19"/>
          <p:cNvCxnSpPr/>
          <p:nvPr/>
        </p:nvCxnSpPr>
        <p:spPr bwMode="auto">
          <a:xfrm>
            <a:off x="136983" y="5073346"/>
            <a:ext cx="8674856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136983" y="3652859"/>
            <a:ext cx="8674856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7481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381000" y="6545263"/>
            <a:ext cx="4984750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fld id="{468C3F3E-95F1-384C-B78F-90A57C340A17}" type="slidenum">
              <a:rPr lang="en-GB" sz="900">
                <a:solidFill>
                  <a:schemeClr val="bg1"/>
                </a:solidFill>
              </a:rPr>
              <a:pPr/>
              <a:t>15</a:t>
            </a:fld>
            <a:r>
              <a:rPr lang="en-GB" sz="90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123906" name="Object 2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907" name="Rectangle 15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122238" y="234950"/>
            <a:ext cx="8793162" cy="373063"/>
          </a:xfrm>
        </p:spPr>
        <p:txBody>
          <a:bodyPr/>
          <a:lstStyle/>
          <a:p>
            <a:r>
              <a:rPr lang="en-GB">
                <a:latin typeface="Verdana" charset="0"/>
                <a:ea typeface="ＭＳ Ｐゴシック" charset="0"/>
              </a:rPr>
              <a:t>Reliable monthly data on progress </a:t>
            </a:r>
            <a:endParaRPr lang="en-US">
              <a:latin typeface="Verdana" charset="0"/>
              <a:ea typeface="ＭＳ Ｐゴシック" charset="0"/>
            </a:endParaRPr>
          </a:p>
        </p:txBody>
      </p:sp>
      <p:pic>
        <p:nvPicPr>
          <p:cNvPr id="123908" name="Picture 6" descr="Captur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8"/>
          <a:stretch>
            <a:fillRect/>
          </a:stretch>
        </p:blipFill>
        <p:spPr bwMode="auto">
          <a:xfrm>
            <a:off x="823913" y="765175"/>
            <a:ext cx="7424737" cy="5564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19066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19063" y="230188"/>
            <a:ext cx="7827962" cy="523220"/>
          </a:xfrm>
        </p:spPr>
        <p:txBody>
          <a:bodyPr/>
          <a:lstStyle/>
          <a:p>
            <a:pPr eaLnBrk="1" hangingPunct="1"/>
            <a:r>
              <a:rPr lang="en-GB" dirty="0" smtClean="0"/>
              <a:t>Reliable monthly dashboards</a:t>
            </a:r>
            <a:br>
              <a:rPr lang="en-GB" dirty="0" smtClean="0"/>
            </a:br>
            <a:r>
              <a:rPr lang="en-GB" sz="1500" b="0" dirty="0" smtClean="0"/>
              <a:t>Priority 4: Expand the impact of PEF - actions have been updated to reflect current activities</a:t>
            </a:r>
          </a:p>
        </p:txBody>
      </p:sp>
      <p:sp>
        <p:nvSpPr>
          <p:cNvPr id="6" name="Line 3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293688" y="3514188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7" name="Line 46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93688" y="4236154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8" name="Line 50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293688" y="4861560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9" name="Line 5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293688" y="5355273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10" name="Line 26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293688" y="2937579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11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15900" y="895984"/>
            <a:ext cx="8531225" cy="5583069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/>
          <a:lstStyle/>
          <a:p>
            <a:endParaRPr lang="en-US" sz="1100"/>
          </a:p>
        </p:txBody>
      </p:sp>
      <p:sp>
        <p:nvSpPr>
          <p:cNvPr id="12" name="Line 46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293688" y="2186623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3" name="Line 54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93688" y="5895023"/>
            <a:ext cx="83947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14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28388" y="5440998"/>
            <a:ext cx="360000" cy="3600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1100" b="1">
              <a:ea typeface="MS PGothic" pitchFamily="34" charset="-128"/>
            </a:endParaRPr>
          </a:p>
        </p:txBody>
      </p:sp>
      <p:sp>
        <p:nvSpPr>
          <p:cNvPr id="15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947025" y="115888"/>
            <a:ext cx="165100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2400" b="1">
              <a:ea typeface="ＭＳ Ｐゴシック" charset="0"/>
            </a:endParaRPr>
          </a:p>
        </p:txBody>
      </p:sp>
      <p:sp>
        <p:nvSpPr>
          <p:cNvPr id="16" name="Rectangle 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185150" y="130175"/>
            <a:ext cx="525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  <a:defRPr/>
            </a:pPr>
            <a:r>
              <a:rPr lang="en-GB" sz="1000">
                <a:ea typeface="MS PGothic" pitchFamily="34" charset="-128"/>
              </a:rPr>
              <a:t>On target</a:t>
            </a: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947025" y="685800"/>
            <a:ext cx="165100" cy="165100"/>
          </a:xfrm>
          <a:prstGeom prst="rect">
            <a:avLst/>
          </a:prstGeom>
          <a:solidFill>
            <a:srgbClr val="FF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2400" b="1">
              <a:ea typeface="ＭＳ Ｐゴシック" charset="0"/>
            </a:endParaRPr>
          </a:p>
        </p:txBody>
      </p:sp>
      <p:sp>
        <p:nvSpPr>
          <p:cNvPr id="18" name="Rectangle 1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185150" y="700088"/>
            <a:ext cx="525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  <a:defRPr/>
            </a:pPr>
            <a:r>
              <a:rPr lang="en-GB" sz="1000">
                <a:ea typeface="MS PGothic" pitchFamily="34" charset="-128"/>
              </a:rPr>
              <a:t>Off target</a:t>
            </a:r>
          </a:p>
        </p:txBody>
      </p:sp>
      <p:grpSp>
        <p:nvGrpSpPr>
          <p:cNvPr id="19" name="Group 12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947025" y="492125"/>
            <a:ext cx="165100" cy="165100"/>
            <a:chOff x="4759" y="354"/>
            <a:chExt cx="104" cy="104"/>
          </a:xfrm>
        </p:grpSpPr>
        <p:sp>
          <p:nvSpPr>
            <p:cNvPr id="20" name="Rectangle 13"/>
            <p:cNvSpPr>
              <a:spLocks noChangeArrowheads="1"/>
            </p:cNvSpPr>
            <p:nvPr/>
          </p:nvSpPr>
          <p:spPr bwMode="gray">
            <a:xfrm>
              <a:off x="4759" y="354"/>
              <a:ext cx="104" cy="104"/>
            </a:xfrm>
            <a:prstGeom prst="rect">
              <a:avLst/>
            </a:prstGeom>
            <a:solidFill>
              <a:srgbClr val="FF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  <p:sp>
          <p:nvSpPr>
            <p:cNvPr id="21" name="AutoShape 14"/>
            <p:cNvSpPr>
              <a:spLocks noChangeArrowheads="1"/>
            </p:cNvSpPr>
            <p:nvPr/>
          </p:nvSpPr>
          <p:spPr bwMode="gray">
            <a:xfrm>
              <a:off x="4764" y="354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  <p:sp>
          <p:nvSpPr>
            <p:cNvPr id="22" name="AutoShape 15"/>
            <p:cNvSpPr>
              <a:spLocks noChangeArrowheads="1"/>
            </p:cNvSpPr>
            <p:nvPr/>
          </p:nvSpPr>
          <p:spPr bwMode="gray">
            <a:xfrm>
              <a:off x="4806" y="354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  <p:sp>
          <p:nvSpPr>
            <p:cNvPr id="23" name="AutoShape 16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 rot="10800000">
              <a:off x="4759" y="354"/>
              <a:ext cx="18" cy="54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2400" b="1">
                <a:ea typeface="MS PGothic" pitchFamily="34" charset="-128"/>
              </a:endParaRPr>
            </a:p>
          </p:txBody>
        </p:sp>
        <p:sp>
          <p:nvSpPr>
            <p:cNvPr id="24" name="AutoShape 17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 rot="10800000" flipH="1" flipV="1">
              <a:off x="4850" y="418"/>
              <a:ext cx="13" cy="40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</p:grpSp>
      <p:grpSp>
        <p:nvGrpSpPr>
          <p:cNvPr id="25" name="Group 18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7947025" y="307975"/>
            <a:ext cx="165100" cy="165100"/>
            <a:chOff x="4759" y="238"/>
            <a:chExt cx="104" cy="104"/>
          </a:xfrm>
        </p:grpSpPr>
        <p:sp>
          <p:nvSpPr>
            <p:cNvPr id="26" name="Rectangle 19"/>
            <p:cNvSpPr>
              <a:spLocks noChangeArrowheads="1"/>
            </p:cNvSpPr>
            <p:nvPr/>
          </p:nvSpPr>
          <p:spPr bwMode="gray">
            <a:xfrm>
              <a:off x="4759" y="238"/>
              <a:ext cx="104" cy="10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  <p:sp>
          <p:nvSpPr>
            <p:cNvPr id="27" name="AutoShape 20"/>
            <p:cNvSpPr>
              <a:spLocks noChangeArrowheads="1"/>
            </p:cNvSpPr>
            <p:nvPr/>
          </p:nvSpPr>
          <p:spPr bwMode="gray">
            <a:xfrm>
              <a:off x="4764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  <p:sp>
          <p:nvSpPr>
            <p:cNvPr id="28" name="AutoShape 21"/>
            <p:cNvSpPr>
              <a:spLocks noChangeArrowheads="1"/>
            </p:cNvSpPr>
            <p:nvPr/>
          </p:nvSpPr>
          <p:spPr bwMode="gray">
            <a:xfrm>
              <a:off x="4806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  <p:sp>
          <p:nvSpPr>
            <p:cNvPr id="29" name="AutoShape 22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 rot="10800000">
              <a:off x="4759" y="238"/>
              <a:ext cx="18" cy="54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2400" b="1">
                <a:ea typeface="MS PGothic" pitchFamily="34" charset="-128"/>
              </a:endParaRPr>
            </a:p>
          </p:txBody>
        </p:sp>
        <p:sp>
          <p:nvSpPr>
            <p:cNvPr id="30" name="AutoShape 23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 rot="10800000" flipH="1" flipV="1">
              <a:off x="4850" y="302"/>
              <a:ext cx="13" cy="40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2400" b="1">
                <a:ea typeface="ＭＳ Ｐゴシック" charset="0"/>
              </a:endParaRPr>
            </a:p>
          </p:txBody>
        </p:sp>
      </p:grpSp>
      <p:sp>
        <p:nvSpPr>
          <p:cNvPr id="31" name="Line 92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293688" y="1229360"/>
            <a:ext cx="8394700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2" name="Rectangle 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328388" y="2248466"/>
            <a:ext cx="360000" cy="3600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1100" b="1">
              <a:ea typeface="MS PGothic" pitchFamily="34" charset="-128"/>
            </a:endParaRPr>
          </a:p>
        </p:txBody>
      </p:sp>
      <p:grpSp>
        <p:nvGrpSpPr>
          <p:cNvPr id="33" name="Group 12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328388" y="5969635"/>
            <a:ext cx="360000" cy="360000"/>
            <a:chOff x="4759" y="354"/>
            <a:chExt cx="104" cy="104"/>
          </a:xfrm>
        </p:grpSpPr>
        <p:sp>
          <p:nvSpPr>
            <p:cNvPr id="34" name="Rectangle 13"/>
            <p:cNvSpPr>
              <a:spLocks noChangeArrowheads="1"/>
            </p:cNvSpPr>
            <p:nvPr/>
          </p:nvSpPr>
          <p:spPr bwMode="gray">
            <a:xfrm>
              <a:off x="4759" y="354"/>
              <a:ext cx="104" cy="104"/>
            </a:xfrm>
            <a:prstGeom prst="rect">
              <a:avLst/>
            </a:prstGeom>
            <a:solidFill>
              <a:srgbClr val="FF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35" name="AutoShape 14"/>
            <p:cNvSpPr>
              <a:spLocks noChangeArrowheads="1"/>
            </p:cNvSpPr>
            <p:nvPr/>
          </p:nvSpPr>
          <p:spPr bwMode="gray">
            <a:xfrm>
              <a:off x="4764" y="354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36" name="AutoShape 15"/>
            <p:cNvSpPr>
              <a:spLocks noChangeArrowheads="1"/>
            </p:cNvSpPr>
            <p:nvPr/>
          </p:nvSpPr>
          <p:spPr bwMode="gray">
            <a:xfrm>
              <a:off x="4806" y="354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37" name="AutoShape 16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 rot="10800000">
              <a:off x="4759" y="354"/>
              <a:ext cx="18" cy="54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38" name="AutoShape 17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 rot="10800000" flipH="1" flipV="1">
              <a:off x="4850" y="418"/>
              <a:ext cx="13" cy="40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lang="en-US" sz="1100" b="1">
                <a:ea typeface="MS PGothic" pitchFamily="34" charset="-128"/>
              </a:endParaRPr>
            </a:p>
          </p:txBody>
        </p:sp>
      </p:grpSp>
      <p:sp>
        <p:nvSpPr>
          <p:cNvPr id="39" name="Rectangle 35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45119" y="3550700"/>
            <a:ext cx="397170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 dirty="0">
                <a:ea typeface="Batang" charset="0"/>
                <a:cs typeface="Arial" charset="0"/>
              </a:rPr>
              <a:t>Implement appropriate anti-corruption processes including independent review of anti-corruption plan</a:t>
            </a:r>
          </a:p>
        </p:txBody>
      </p:sp>
      <p:sp>
        <p:nvSpPr>
          <p:cNvPr id="40" name="Rectangle 31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45119" y="3037523"/>
            <a:ext cx="397170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>
                <a:ea typeface="Batang" pitchFamily="18" charset="-127"/>
                <a:cs typeface="Arial" charset="0"/>
              </a:rPr>
              <a:t>Ensure on time implementation of 2012-13 EVS expansion of 10k vouchers</a:t>
            </a:r>
          </a:p>
        </p:txBody>
      </p:sp>
      <p:sp>
        <p:nvSpPr>
          <p:cNvPr id="41" name="Rectangle 47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45119" y="4334579"/>
            <a:ext cx="397170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 dirty="0">
                <a:ea typeface="Batang" pitchFamily="18" charset="-127"/>
                <a:cs typeface="Arial" charset="0"/>
              </a:rPr>
              <a:t>Develop student information systems to capture and record data across all programs</a:t>
            </a:r>
          </a:p>
        </p:txBody>
      </p:sp>
      <p:sp>
        <p:nvSpPr>
          <p:cNvPr id="42" name="Rectangle 51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45119" y="4927615"/>
            <a:ext cx="39717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01613" indent="-201613"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 dirty="0">
                <a:ea typeface="Batang" pitchFamily="18" charset="-127"/>
                <a:cs typeface="Arial" charset="0"/>
              </a:rPr>
              <a:t>Expand monitoring and evaluation capabilities</a:t>
            </a:r>
          </a:p>
        </p:txBody>
      </p:sp>
      <p:sp>
        <p:nvSpPr>
          <p:cNvPr id="43" name="Rectangle 2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645119" y="2248466"/>
            <a:ext cx="397170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 dirty="0">
                <a:ea typeface="Batang" pitchFamily="18" charset="-127"/>
                <a:cs typeface="Arial" charset="0"/>
              </a:rPr>
              <a:t>Align on and adhere to principles to work together, ensuring that PEF has sufficient funds for its operations</a:t>
            </a:r>
          </a:p>
        </p:txBody>
      </p:sp>
      <p:sp>
        <p:nvSpPr>
          <p:cNvPr id="44" name="Rectangle 5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45119" y="5971223"/>
            <a:ext cx="397170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 dirty="0">
                <a:ea typeface="Batang" pitchFamily="18" charset="-127"/>
                <a:cs typeface="Arial" charset="0"/>
              </a:rPr>
              <a:t>Build capacity to meet current and future needs of PEF’s programs</a:t>
            </a:r>
          </a:p>
        </p:txBody>
      </p:sp>
      <p:sp>
        <p:nvSpPr>
          <p:cNvPr id="45" name="Rectangle 5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645119" y="5440998"/>
            <a:ext cx="39717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01613" indent="-201613"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ko-KR" sz="1400" dirty="0">
                <a:ea typeface="Batang" pitchFamily="18" charset="-127"/>
                <a:cs typeface="Arial" charset="0"/>
              </a:rPr>
              <a:t>Conduct quality assurance testing</a:t>
            </a:r>
          </a:p>
        </p:txBody>
      </p:sp>
      <p:sp>
        <p:nvSpPr>
          <p:cNvPr id="46" name="Rectangle 90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93688" y="955179"/>
            <a:ext cx="420367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  <a:defRPr/>
            </a:pPr>
            <a:r>
              <a:rPr lang="en-GB" sz="1400" b="1">
                <a:solidFill>
                  <a:schemeClr val="folHlink"/>
                </a:solidFill>
                <a:ea typeface="ＭＳ Ｐゴシック" charset="0"/>
              </a:rPr>
              <a:t>Actions</a:t>
            </a:r>
          </a:p>
        </p:txBody>
      </p:sp>
      <p:sp>
        <p:nvSpPr>
          <p:cNvPr id="47" name="Rectangle 47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45119" y="1311910"/>
            <a:ext cx="397170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400" dirty="0">
                <a:solidFill>
                  <a:srgbClr val="000000"/>
                </a:solidFill>
                <a:ea typeface="Batang" pitchFamily="18" charset="-127"/>
                <a:cs typeface="Arial" charset="0"/>
              </a:rPr>
              <a:t>Ensure timely release of funds and complete budgetary support to PEF to meet needs of all programs (FAS, EVS, and NSP) and related textbook, HR and administrative expenses</a:t>
            </a:r>
          </a:p>
        </p:txBody>
      </p:sp>
      <p:sp>
        <p:nvSpPr>
          <p:cNvPr id="48" name="Rectangle 25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796980" y="1316673"/>
            <a:ext cx="20612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Secretary Finance</a:t>
            </a:r>
          </a:p>
        </p:txBody>
      </p:sp>
      <p:sp>
        <p:nvSpPr>
          <p:cNvPr id="49" name="Rectangle 37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796980" y="3550700"/>
            <a:ext cx="20612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hairman PEF</a:t>
            </a:r>
          </a:p>
        </p:txBody>
      </p:sp>
      <p:sp>
        <p:nvSpPr>
          <p:cNvPr id="50" name="Rectangle 3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796980" y="3037523"/>
            <a:ext cx="20612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hairman PEF, Secretary Finance/DFID</a:t>
            </a:r>
          </a:p>
        </p:txBody>
      </p:sp>
      <p:sp>
        <p:nvSpPr>
          <p:cNvPr id="51" name="Rectangle 49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796980" y="4334579"/>
            <a:ext cx="20612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hairman PEF</a:t>
            </a:r>
          </a:p>
        </p:txBody>
      </p:sp>
      <p:sp>
        <p:nvSpPr>
          <p:cNvPr id="52" name="Rectangle 53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796980" y="4927615"/>
            <a:ext cx="20612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hairman PEF</a:t>
            </a:r>
          </a:p>
        </p:txBody>
      </p:sp>
      <p:sp>
        <p:nvSpPr>
          <p:cNvPr id="53" name="Rectangle 25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4796980" y="2248466"/>
            <a:ext cx="20612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Secretary Finance, Chairman PEF</a:t>
            </a:r>
          </a:p>
        </p:txBody>
      </p:sp>
      <p:sp>
        <p:nvSpPr>
          <p:cNvPr id="54" name="Rectangle 57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796980" y="5971223"/>
            <a:ext cx="20612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hairman PEF, DFID</a:t>
            </a:r>
          </a:p>
        </p:txBody>
      </p:sp>
      <p:sp>
        <p:nvSpPr>
          <p:cNvPr id="55" name="Rectangle 5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796980" y="5440998"/>
            <a:ext cx="227980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hairman PEF,</a:t>
            </a:r>
          </a:p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DFID/Sec Finance </a:t>
            </a:r>
          </a:p>
        </p:txBody>
      </p:sp>
      <p:sp>
        <p:nvSpPr>
          <p:cNvPr id="56" name="Rectangle 89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4796980" y="955179"/>
            <a:ext cx="20612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  <a:defRPr/>
            </a:pPr>
            <a:r>
              <a:rPr lang="en-GB" sz="1400" b="1">
                <a:solidFill>
                  <a:schemeClr val="folHlink"/>
                </a:solidFill>
                <a:ea typeface="ＭＳ Ｐゴシック" charset="0"/>
              </a:rPr>
              <a:t>Action by</a:t>
            </a:r>
          </a:p>
        </p:txBody>
      </p:sp>
      <p:sp>
        <p:nvSpPr>
          <p:cNvPr id="57" name="Rectangle 24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858268" y="1316673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 dirty="0" smtClean="0">
                <a:ea typeface="MS PGothic" pitchFamily="34" charset="-128"/>
              </a:rPr>
              <a:t>Continuous</a:t>
            </a:r>
            <a:endParaRPr lang="en-GB" sz="1400" dirty="0">
              <a:ea typeface="MS PGothic" pitchFamily="34" charset="-128"/>
            </a:endParaRPr>
          </a:p>
        </p:txBody>
      </p:sp>
      <p:sp>
        <p:nvSpPr>
          <p:cNvPr id="58" name="Rectangle 36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858268" y="3550700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ontinuous</a:t>
            </a:r>
          </a:p>
        </p:txBody>
      </p:sp>
      <p:sp>
        <p:nvSpPr>
          <p:cNvPr id="59" name="Rectangle 32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6858268" y="3037523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ontinuous</a:t>
            </a:r>
          </a:p>
        </p:txBody>
      </p:sp>
      <p:sp>
        <p:nvSpPr>
          <p:cNvPr id="60" name="Rectangle 48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6858268" y="4334579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ontinuous</a:t>
            </a:r>
          </a:p>
        </p:txBody>
      </p:sp>
      <p:sp>
        <p:nvSpPr>
          <p:cNvPr id="61" name="Rectangle 52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858268" y="4927615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ontinuous</a:t>
            </a:r>
          </a:p>
        </p:txBody>
      </p:sp>
      <p:sp>
        <p:nvSpPr>
          <p:cNvPr id="62" name="Rectangle 24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858268" y="2248466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 dirty="0">
                <a:ea typeface="MS PGothic" pitchFamily="34" charset="-128"/>
              </a:rPr>
              <a:t>15 May </a:t>
            </a:r>
            <a:r>
              <a:rPr lang="en-GB" sz="1400" dirty="0" smtClean="0">
                <a:ea typeface="MS PGothic" pitchFamily="34" charset="-128"/>
              </a:rPr>
              <a:t>2012</a:t>
            </a:r>
            <a:endParaRPr lang="en-GB" sz="1400" dirty="0">
              <a:ea typeface="MS PGothic" pitchFamily="34" charset="-128"/>
            </a:endParaRPr>
          </a:p>
        </p:txBody>
      </p:sp>
      <p:sp>
        <p:nvSpPr>
          <p:cNvPr id="63" name="Rectangle 56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6858268" y="5971223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ontinuous</a:t>
            </a:r>
          </a:p>
        </p:txBody>
      </p:sp>
      <p:sp>
        <p:nvSpPr>
          <p:cNvPr id="64" name="Rectangle 56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6858268" y="5440998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GB" sz="1400">
                <a:ea typeface="MS PGothic" pitchFamily="34" charset="-128"/>
              </a:rPr>
              <a:t>Continuous</a:t>
            </a:r>
          </a:p>
        </p:txBody>
      </p:sp>
      <p:sp>
        <p:nvSpPr>
          <p:cNvPr id="65" name="Rectangle 88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6858268" y="955179"/>
            <a:ext cx="13268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95350">
              <a:spcBef>
                <a:spcPct val="0"/>
              </a:spcBef>
              <a:spcAft>
                <a:spcPct val="0"/>
              </a:spcAft>
              <a:buSzTx/>
              <a:buFontTx/>
              <a:buNone/>
              <a:defRPr/>
            </a:pPr>
            <a:r>
              <a:rPr lang="en-GB" sz="1400" b="1">
                <a:solidFill>
                  <a:schemeClr val="folHlink"/>
                </a:solidFill>
                <a:ea typeface="ＭＳ Ｐゴシック" charset="0"/>
              </a:rPr>
              <a:t>Timeline</a:t>
            </a:r>
          </a:p>
        </p:txBody>
      </p:sp>
      <p:sp>
        <p:nvSpPr>
          <p:cNvPr id="66" name="Rectangle 8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8328388" y="1316673"/>
            <a:ext cx="360000" cy="3600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1100" b="1" dirty="0">
              <a:ea typeface="MS PGothic" pitchFamily="34" charset="-128"/>
            </a:endParaRPr>
          </a:p>
        </p:txBody>
      </p:sp>
      <p:sp>
        <p:nvSpPr>
          <p:cNvPr id="67" name="Rectangle 8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8328388" y="3037523"/>
            <a:ext cx="360000" cy="3600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1100" b="1" dirty="0">
              <a:ea typeface="MS PGothic" pitchFamily="34" charset="-128"/>
            </a:endParaRPr>
          </a:p>
        </p:txBody>
      </p:sp>
      <p:grpSp>
        <p:nvGrpSpPr>
          <p:cNvPr id="68" name="Group 18"/>
          <p:cNvGrpSpPr>
            <a:grpSpLocks/>
          </p:cNvGrpSpPr>
          <p:nvPr>
            <p:custDataLst>
              <p:tags r:id="rId49"/>
            </p:custDataLst>
          </p:nvPr>
        </p:nvGrpSpPr>
        <p:grpSpPr bwMode="auto">
          <a:xfrm>
            <a:off x="8328388" y="4334579"/>
            <a:ext cx="360000" cy="360000"/>
            <a:chOff x="4759" y="238"/>
            <a:chExt cx="104" cy="104"/>
          </a:xfrm>
        </p:grpSpPr>
        <p:sp>
          <p:nvSpPr>
            <p:cNvPr id="69" name="Rectangle 19"/>
            <p:cNvSpPr>
              <a:spLocks noChangeArrowheads="1"/>
            </p:cNvSpPr>
            <p:nvPr/>
          </p:nvSpPr>
          <p:spPr bwMode="gray">
            <a:xfrm>
              <a:off x="4759" y="238"/>
              <a:ext cx="104" cy="1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0" name="AutoShape 20"/>
            <p:cNvSpPr>
              <a:spLocks noChangeArrowheads="1"/>
            </p:cNvSpPr>
            <p:nvPr/>
          </p:nvSpPr>
          <p:spPr bwMode="gray">
            <a:xfrm>
              <a:off x="4764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1" name="AutoShape 21"/>
            <p:cNvSpPr>
              <a:spLocks noChangeArrowheads="1"/>
            </p:cNvSpPr>
            <p:nvPr/>
          </p:nvSpPr>
          <p:spPr bwMode="gray">
            <a:xfrm>
              <a:off x="4806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2" name="AutoShape 22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 rot="10800000">
              <a:off x="4759" y="238"/>
              <a:ext cx="18" cy="54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3" name="AutoShape 23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 rot="10800000" flipH="1" flipV="1">
              <a:off x="4850" y="302"/>
              <a:ext cx="13" cy="40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</p:grpSp>
      <p:grpSp>
        <p:nvGrpSpPr>
          <p:cNvPr id="74" name="Group 18"/>
          <p:cNvGrpSpPr>
            <a:grpSpLocks/>
          </p:cNvGrpSpPr>
          <p:nvPr>
            <p:custDataLst>
              <p:tags r:id="rId50"/>
            </p:custDataLst>
          </p:nvPr>
        </p:nvGrpSpPr>
        <p:grpSpPr bwMode="auto">
          <a:xfrm>
            <a:off x="8328388" y="4927615"/>
            <a:ext cx="360000" cy="360000"/>
            <a:chOff x="4759" y="238"/>
            <a:chExt cx="104" cy="104"/>
          </a:xfrm>
        </p:grpSpPr>
        <p:sp>
          <p:nvSpPr>
            <p:cNvPr id="75" name="Rectangle 19"/>
            <p:cNvSpPr>
              <a:spLocks noChangeArrowheads="1"/>
            </p:cNvSpPr>
            <p:nvPr/>
          </p:nvSpPr>
          <p:spPr bwMode="gray">
            <a:xfrm>
              <a:off x="4759" y="238"/>
              <a:ext cx="104" cy="1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6" name="AutoShape 20"/>
            <p:cNvSpPr>
              <a:spLocks noChangeArrowheads="1"/>
            </p:cNvSpPr>
            <p:nvPr/>
          </p:nvSpPr>
          <p:spPr bwMode="gray">
            <a:xfrm>
              <a:off x="4764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7" name="AutoShape 21"/>
            <p:cNvSpPr>
              <a:spLocks noChangeArrowheads="1"/>
            </p:cNvSpPr>
            <p:nvPr/>
          </p:nvSpPr>
          <p:spPr bwMode="gray">
            <a:xfrm>
              <a:off x="4806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8" name="AutoShape 22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 rot="10800000">
              <a:off x="4759" y="238"/>
              <a:ext cx="18" cy="54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79" name="AutoShape 23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 rot="10800000" flipH="1" flipV="1">
              <a:off x="4850" y="302"/>
              <a:ext cx="13" cy="40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</p:grpSp>
      <p:grpSp>
        <p:nvGrpSpPr>
          <p:cNvPr id="80" name="Group 1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8328388" y="3660062"/>
            <a:ext cx="360000" cy="360000"/>
            <a:chOff x="4759" y="238"/>
            <a:chExt cx="104" cy="104"/>
          </a:xfrm>
        </p:grpSpPr>
        <p:sp>
          <p:nvSpPr>
            <p:cNvPr id="81" name="Rectangle 19"/>
            <p:cNvSpPr>
              <a:spLocks noChangeArrowheads="1"/>
            </p:cNvSpPr>
            <p:nvPr/>
          </p:nvSpPr>
          <p:spPr bwMode="gray">
            <a:xfrm>
              <a:off x="4759" y="238"/>
              <a:ext cx="104" cy="1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82" name="AutoShape 20"/>
            <p:cNvSpPr>
              <a:spLocks noChangeArrowheads="1"/>
            </p:cNvSpPr>
            <p:nvPr/>
          </p:nvSpPr>
          <p:spPr bwMode="gray">
            <a:xfrm>
              <a:off x="4764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83" name="AutoShape 21"/>
            <p:cNvSpPr>
              <a:spLocks noChangeArrowheads="1"/>
            </p:cNvSpPr>
            <p:nvPr/>
          </p:nvSpPr>
          <p:spPr bwMode="gray">
            <a:xfrm>
              <a:off x="4806" y="238"/>
              <a:ext cx="56" cy="104"/>
            </a:xfrm>
            <a:prstGeom prst="parallelogram">
              <a:avLst>
                <a:gd name="adj" fmla="val 6313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84" name="AutoShape 2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 rot="10800000">
              <a:off x="4759" y="238"/>
              <a:ext cx="18" cy="54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  <p:sp>
          <p:nvSpPr>
            <p:cNvPr id="85" name="AutoShape 23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 rot="10800000" flipH="1" flipV="1">
              <a:off x="4850" y="302"/>
              <a:ext cx="13" cy="40"/>
            </a:xfrm>
            <a:prstGeom prst="triangle">
              <a:avLst>
                <a:gd name="adj" fmla="val 100000"/>
              </a:avLst>
            </a:prstGeom>
            <a:solidFill>
              <a:srgbClr val="FF99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100" b="1">
                <a:ea typeface="MS PGothic" pitchFamily="34" charset="-128"/>
              </a:endParaRPr>
            </a:p>
          </p:txBody>
        </p:sp>
      </p:grpSp>
      <p:sp>
        <p:nvSpPr>
          <p:cNvPr id="86" name="Oval 17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312101" y="3541174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5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87" name="Oval 22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312101" y="3027997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4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88" name="Oval 26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312101" y="4325053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6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89" name="Oval 30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312101" y="4911739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7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90" name="Oval 40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312101" y="2248466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3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91" name="Oval 50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312101" y="5961697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9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92" name="Oval 54"/>
          <p:cNvSpPr txBox="1"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312101" y="5431472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8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  <p:sp>
        <p:nvSpPr>
          <p:cNvPr id="93" name="Oval 77"/>
          <p:cNvSpPr txBox="1"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312101" y="1297622"/>
            <a:ext cx="216000" cy="216000"/>
          </a:xfrm>
          <a:prstGeom prst="ellipse">
            <a:avLst/>
          </a:prstGeom>
          <a:solidFill>
            <a:schemeClr val="folHlink"/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</a:bodyPr>
          <a:lstStyle>
            <a:lvl1pPr marL="349489" indent="-349489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398" indent="-195781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5981" indent="-266972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171" indent="-158566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65" indent="-132677" algn="l" defTabSz="91255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452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en-GB" sz="1100" b="1" smtClean="0">
                <a:solidFill>
                  <a:schemeClr val="bg1"/>
                </a:solidFill>
              </a:rPr>
              <a:t>32</a:t>
            </a:r>
            <a:endParaRPr lang="en-GB" sz="11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974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 descr="P100076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1104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1148809" y="5560515"/>
            <a:ext cx="6963352" cy="65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9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Results</a:t>
            </a:r>
            <a:endParaRPr lang="en-US" sz="9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pic>
        <p:nvPicPr>
          <p:cNvPr id="15" name="Picture 14" descr="P1000847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94"/>
          <a:stretch/>
        </p:blipFill>
        <p:spPr>
          <a:xfrm>
            <a:off x="-1" y="0"/>
            <a:ext cx="9139535" cy="5360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738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405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40515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1493" y="234863"/>
            <a:ext cx="8794113" cy="369332"/>
          </a:xfrm>
        </p:spPr>
        <p:txBody>
          <a:bodyPr/>
          <a:lstStyle/>
          <a:p>
            <a:r>
              <a:rPr lang="en-GB" sz="2400" dirty="0"/>
              <a:t>A new day is dawning on education in </a:t>
            </a:r>
            <a:r>
              <a:rPr lang="en-GB" sz="2400" dirty="0" smtClean="0"/>
              <a:t>Punjab</a:t>
            </a:r>
            <a:endParaRPr lang="en-GB" sz="2400" dirty="0"/>
          </a:p>
        </p:txBody>
      </p:sp>
      <p:grpSp>
        <p:nvGrpSpPr>
          <p:cNvPr id="2" name="Group 1"/>
          <p:cNvGrpSpPr/>
          <p:nvPr/>
        </p:nvGrpSpPr>
        <p:grpSpPr>
          <a:xfrm>
            <a:off x="393626" y="949163"/>
            <a:ext cx="6084116" cy="5528985"/>
            <a:chOff x="393626" y="671035"/>
            <a:chExt cx="6084116" cy="5954158"/>
          </a:xfrm>
        </p:grpSpPr>
        <p:sp>
          <p:nvSpPr>
            <p:cNvPr id="2240534" name="Rectangle 2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0101" y="3680496"/>
              <a:ext cx="6077641" cy="1425376"/>
            </a:xfrm>
            <a:prstGeom prst="rect">
              <a:avLst/>
            </a:prstGeom>
            <a:solidFill>
              <a:schemeClr val="bg1">
                <a:alpha val="38000"/>
              </a:schemeClr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3256" tIns="46628" rIns="93256" bIns="46628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endParaRPr lang="en-US" sz="1400">
                <a:solidFill>
                  <a:srgbClr val="000000"/>
                </a:solidFill>
                <a:latin typeface="Verdana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240535" name="Rectangle 2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00101" y="5199817"/>
              <a:ext cx="6077641" cy="1425376"/>
            </a:xfrm>
            <a:prstGeom prst="rect">
              <a:avLst/>
            </a:prstGeom>
            <a:solidFill>
              <a:schemeClr val="bg1">
                <a:alpha val="38000"/>
              </a:schemeClr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3256" tIns="46628" rIns="93256" bIns="46628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endParaRPr lang="en-US" sz="1400">
                <a:solidFill>
                  <a:srgbClr val="000000"/>
                </a:solidFill>
                <a:latin typeface="Verdana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240533" name="Rectangl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00101" y="2161175"/>
              <a:ext cx="6077641" cy="1425376"/>
            </a:xfrm>
            <a:prstGeom prst="rect">
              <a:avLst/>
            </a:prstGeom>
            <a:solidFill>
              <a:schemeClr val="bg1">
                <a:alpha val="38000"/>
              </a:schemeClr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3256" tIns="46628" rIns="93256" bIns="46628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endParaRPr lang="en-US" sz="1400">
                <a:solidFill>
                  <a:srgbClr val="000000"/>
                </a:solidFill>
                <a:latin typeface="Verdana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2240519" name="Picture 7" descr="school-nagyr-pakistan-5068713-h"/>
            <p:cNvPicPr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4960" y="3682121"/>
              <a:ext cx="2364967" cy="1376783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50000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2240520" name="Picture 8" descr="pakistan-karachi-6014341-h"/>
            <p:cNvPicPr>
              <a:picLocks noChangeArrowheads="1"/>
            </p:cNvPicPr>
            <p:nvPr>
              <p:custDataLst>
                <p:tags r:id="rId8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4960" y="2191956"/>
              <a:ext cx="2364967" cy="1376783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50000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2240522" name="Rectangle 1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25436" y="2660526"/>
              <a:ext cx="3451881" cy="439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>
                  <a:solidFill>
                    <a:srgbClr val="777777"/>
                  </a:solidFill>
                  <a:latin typeface="Verdana" charset="0"/>
                  <a:ea typeface="ＭＳ Ｐゴシック" charset="0"/>
                  <a:cs typeface="ＭＳ Ｐゴシック" charset="0"/>
                </a:rPr>
                <a:t>More teachers attending than ever before</a:t>
              </a:r>
            </a:p>
          </p:txBody>
        </p:sp>
        <p:sp>
          <p:nvSpPr>
            <p:cNvPr id="2240523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925436" y="4150692"/>
              <a:ext cx="3451881" cy="439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>
                  <a:solidFill>
                    <a:srgbClr val="777777"/>
                  </a:solidFill>
                  <a:latin typeface="Verdana" charset="0"/>
                  <a:ea typeface="ＭＳ Ｐゴシック" charset="0"/>
                  <a:cs typeface="ＭＳ Ｐゴシック" charset="0"/>
                </a:rPr>
                <a:t>More schools with better basic facilities</a:t>
              </a:r>
            </a:p>
          </p:txBody>
        </p:sp>
        <p:sp>
          <p:nvSpPr>
            <p:cNvPr id="2240524" name="Rectangle 1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925436" y="5652196"/>
              <a:ext cx="3451881" cy="439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>
                  <a:solidFill>
                    <a:srgbClr val="777777"/>
                  </a:solidFill>
                  <a:latin typeface="Verdana" charset="0"/>
                  <a:ea typeface="ＭＳ Ｐゴシック" charset="0"/>
                  <a:cs typeface="ＭＳ Ｐゴシック" charset="0"/>
                </a:rPr>
                <a:t>Stronger administration focusing on improving quality</a:t>
              </a:r>
            </a:p>
          </p:txBody>
        </p:sp>
        <p:pic>
          <p:nvPicPr>
            <p:cNvPr id="2240531" name="Picture 19" descr="20120209_145345"/>
            <p:cNvPicPr>
              <a:picLocks noChangeArrowheads="1"/>
            </p:cNvPicPr>
            <p:nvPr>
              <p:custDataLst>
                <p:tags r:id="rId12"/>
              </p:custDataLst>
            </p:nvPr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626" y="5194963"/>
              <a:ext cx="2364967" cy="1376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le 2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3626" y="671035"/>
              <a:ext cx="6077641" cy="1425376"/>
            </a:xfrm>
            <a:prstGeom prst="rect">
              <a:avLst/>
            </a:prstGeom>
            <a:solidFill>
              <a:schemeClr val="bg1">
                <a:alpha val="38000"/>
              </a:schemeClr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3256" tIns="46628" rIns="93256" bIns="46628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endParaRPr lang="en-US" sz="1400">
                <a:solidFill>
                  <a:srgbClr val="000000"/>
                </a:solidFill>
                <a:latin typeface="Verdana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918961" y="1174762"/>
              <a:ext cx="3451881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 smtClean="0">
                  <a:solidFill>
                    <a:srgbClr val="777777"/>
                  </a:solidFill>
                  <a:latin typeface="Verdana" charset="0"/>
                  <a:ea typeface="ＭＳ Ｐゴシック" charset="0"/>
                  <a:cs typeface="ＭＳ Ｐゴシック" charset="0"/>
                </a:rPr>
                <a:t>Higher enrolment and student attendance</a:t>
              </a:r>
              <a:endParaRPr lang="en-GB" sz="1400" b="1" dirty="0">
                <a:solidFill>
                  <a:srgbClr val="777777"/>
                </a:solidFill>
                <a:latin typeface="Verdana" charset="0"/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3" name="Picture 2" descr="P1000062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60" y="959309"/>
            <a:ext cx="2364967" cy="1313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34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1025912" y="5560515"/>
            <a:ext cx="7113131" cy="65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9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Origins</a:t>
            </a:r>
            <a:endParaRPr lang="en-US" sz="9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pic>
        <p:nvPicPr>
          <p:cNvPr id="2" name="Picture 1" descr="P1000756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53" b="15942"/>
          <a:stretch/>
        </p:blipFill>
        <p:spPr>
          <a:xfrm>
            <a:off x="0" y="0"/>
            <a:ext cx="9144000" cy="541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65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4813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3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4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0242" name="Slide Number Placeholder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>
            <a:lvl1pPr defTabSz="931145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7871" indent="-291490" defTabSz="931145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5955" indent="-233192" defTabSz="931145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32338" indent="-233192" defTabSz="931145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8720" indent="-233192" defTabSz="931145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5103" indent="-233192" defTabSz="931145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031485" indent="-233192" defTabSz="931145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7867" indent="-233192" defTabSz="931145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964249" indent="-233192" defTabSz="931145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C17EFD-2651-4DF9-901F-A65EEAEED93A}" type="slidenum">
              <a:rPr lang="en-GB" sz="1000">
                <a:solidFill>
                  <a:srgbClr val="898989"/>
                </a:solidFill>
                <a:latin typeface="Calibri" pitchFamily="34" charset="0"/>
              </a:rPr>
              <a:pPr eaLnBrk="1" hangingPunct="1"/>
              <a:t>20</a:t>
            </a:fld>
            <a:endParaRPr lang="en-GB" sz="10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0245" name="Slide Number Placeholder 1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76653" y="6606943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4" rIns="93266" bIns="46634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161735F-518F-482B-92F4-DE148CBFEEA7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0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10247" name="Group 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5621" y="886001"/>
            <a:ext cx="8552758" cy="5390564"/>
            <a:chOff x="114" y="674"/>
            <a:chExt cx="5280" cy="2822"/>
          </a:xfrm>
        </p:grpSpPr>
        <p:sp>
          <p:nvSpPr>
            <p:cNvPr id="10290" name="Rectangle 5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114" y="674"/>
              <a:ext cx="5280" cy="282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10291" name="Rectangle 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114" y="674"/>
              <a:ext cx="5280" cy="29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10292" name="Rectangle 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173" y="715"/>
              <a:ext cx="4871" cy="23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332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folHlink"/>
                  </a:solidFill>
                </a:rPr>
                <a:t>District administration visits</a:t>
              </a:r>
            </a:p>
            <a:p>
              <a:pPr defTabSz="913332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777777"/>
                  </a:solidFill>
                </a:rPr>
                <a:t>% of schools visited by district administrators</a:t>
              </a:r>
            </a:p>
          </p:txBody>
        </p:sp>
      </p:grpSp>
      <p:sp>
        <p:nvSpPr>
          <p:cNvPr id="10248" name="Rectangle 8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 bwMode="gray">
          <a:xfrm>
            <a:off x="121488" y="234862"/>
            <a:ext cx="8847621" cy="369332"/>
          </a:xfrm>
        </p:spPr>
        <p:txBody>
          <a:bodyPr/>
          <a:lstStyle/>
          <a:p>
            <a:r>
              <a:rPr lang="en-US" sz="2400" dirty="0" smtClean="0"/>
              <a:t>The education system is now being effectively managed</a:t>
            </a:r>
            <a:endParaRPr lang="en-GB" sz="2400" dirty="0"/>
          </a:p>
        </p:txBody>
      </p:sp>
      <p:sp>
        <p:nvSpPr>
          <p:cNvPr id="10284" name="McK 5. Source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9654" y="6684688"/>
            <a:ext cx="700257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844" indent="-621844" defTabSz="913332">
              <a:spcBef>
                <a:spcPct val="0"/>
              </a:spcBef>
              <a:spcAft>
                <a:spcPct val="0"/>
              </a:spcAft>
              <a:tabLst>
                <a:tab pos="625082" algn="l"/>
              </a:tabLst>
            </a:pPr>
            <a:r>
              <a:rPr lang="en-GB" sz="800">
                <a:solidFill>
                  <a:srgbClr val="000000"/>
                </a:solidFill>
              </a:rPr>
              <a:t>SOURCE: PMIU</a:t>
            </a:r>
          </a:p>
        </p:txBody>
      </p:sp>
      <p:graphicFrame>
        <p:nvGraphicFramePr>
          <p:cNvPr id="54" name="Object 15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72829165"/>
              </p:ext>
            </p:extLst>
          </p:nvPr>
        </p:nvGraphicFramePr>
        <p:xfrm>
          <a:off x="284165" y="1879600"/>
          <a:ext cx="8577262" cy="3589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Chart" r:id="rId34" imgW="8407400" imgH="3517900" progId="MSGraph.Chart.8">
                  <p:embed followColorScheme="full"/>
                </p:oleObj>
              </mc:Choice>
              <mc:Fallback>
                <p:oleObj name="Chart" r:id="rId34" imgW="8407400" imgH="35179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84165" y="1879600"/>
                        <a:ext cx="8577262" cy="3589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3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490142" y="540994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r>
              <a:rPr lang="en-US" sz="1400" dirty="0">
                <a:cs typeface="Arial" charset="0"/>
              </a:rPr>
              <a:t>Oct.</a:t>
            </a:r>
          </a:p>
          <a:p>
            <a:pPr algn="ctr">
              <a:buNone/>
            </a:pPr>
            <a:r>
              <a:rPr lang="en-US" sz="1400" dirty="0">
                <a:cs typeface="Arial" charset="0"/>
              </a:rPr>
              <a:t>2012</a:t>
            </a:r>
          </a:p>
        </p:txBody>
      </p:sp>
      <p:sp>
        <p:nvSpPr>
          <p:cNvPr id="56" name="Rectangle 28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95231" y="540994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r>
              <a:rPr lang="en-US" sz="1400" dirty="0">
                <a:cs typeface="Arial" charset="0"/>
              </a:rPr>
              <a:t>Sep.</a:t>
            </a:r>
          </a:p>
          <a:p>
            <a:pPr algn="ctr">
              <a:buNone/>
            </a:pPr>
            <a:r>
              <a:rPr lang="en-US" sz="1400" dirty="0">
                <a:cs typeface="Arial" charset="0"/>
              </a:rPr>
              <a:t>2012</a:t>
            </a:r>
          </a:p>
        </p:txBody>
      </p:sp>
      <p:sp>
        <p:nvSpPr>
          <p:cNvPr id="57" name="Rectangle 28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095460" y="54099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Arial" charset="0"/>
              </a:rPr>
              <a:t>Aug.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cs typeface="Arial" charset="0"/>
              </a:rPr>
              <a:t>2012</a:t>
            </a:r>
            <a:endParaRPr lang="en-US" sz="1400" dirty="0">
              <a:cs typeface="Arial" charset="0"/>
            </a:endParaRPr>
          </a:p>
        </p:txBody>
      </p:sp>
      <p:sp>
        <p:nvSpPr>
          <p:cNvPr id="58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400548" y="54099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Apr. 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59" name="Rectangle 2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705637" y="54099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Mar. 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60" name="Rectangle 2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005866" y="54099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Feb. 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61" name="Rectangle 2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310954" y="54099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Jan. 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62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616045" y="5409951"/>
            <a:ext cx="414679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fld id="{29DD5769-4906-4D44-BF58-F1036C5B3DF1}" type="datetime'''''''D''e''''c.'''''''''''''' 2''011'''''''''''''''">
              <a:rPr lang="en-US" sz="1400">
                <a:cs typeface="Arial"/>
              </a:rPr>
              <a:pPr algn="ctr" defTabSz="913332">
                <a:spcBef>
                  <a:spcPct val="0"/>
                </a:spcBef>
                <a:spcAft>
                  <a:spcPct val="0"/>
                </a:spcAft>
              </a:pPr>
              <a:t>Dec. 2011</a:t>
            </a:fld>
            <a:r>
              <a:rPr lang="en-US" sz="1400">
                <a:cs typeface="Arial" charset="0"/>
              </a:rPr>
              <a:t/>
            </a:r>
            <a:br>
              <a:rPr lang="en-US" sz="1400">
                <a:cs typeface="Arial" charset="0"/>
              </a:rPr>
            </a:br>
            <a:endParaRPr lang="en-US" sz="1400">
              <a:cs typeface="Arial" charset="0"/>
            </a:endParaRPr>
          </a:p>
        </p:txBody>
      </p:sp>
      <p:sp>
        <p:nvSpPr>
          <p:cNvPr id="63" name="Rectangle 1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916274" y="54099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fld id="{1D35C25C-9A4E-4638-9076-6B1E362BAFF6}" type="datetime'''''''N''''''''''o''''v''''. ''''20''''''''''1''''''''1'''''">
              <a:rPr lang="en-US" sz="1400">
                <a:cs typeface="Arial"/>
              </a:rPr>
              <a:pPr algn="ctr" defTabSz="913332">
                <a:spcBef>
                  <a:spcPct val="0"/>
                </a:spcBef>
                <a:spcAft>
                  <a:spcPct val="0"/>
                </a:spcAft>
              </a:pPr>
              <a:t>Nov. 2011</a:t>
            </a:fld>
            <a:endParaRPr lang="en-US" sz="1400">
              <a:cs typeface="Arial"/>
            </a:endParaRPr>
          </a:p>
        </p:txBody>
      </p:sp>
      <p:sp>
        <p:nvSpPr>
          <p:cNvPr id="64" name="Rectangle 1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227839" y="540994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Oct.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2011</a:t>
            </a:r>
          </a:p>
        </p:txBody>
      </p:sp>
      <p:sp>
        <p:nvSpPr>
          <p:cNvPr id="65" name="Rectangle 17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32928" y="540994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Aug.</a:t>
            </a:r>
          </a:p>
          <a:p>
            <a:pPr algn="ctr" defTabSz="913332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2011</a:t>
            </a:r>
            <a:endParaRPr lang="en-US" sz="1400">
              <a:cs typeface="Arial" charset="0"/>
            </a:endParaRPr>
          </a:p>
        </p:txBody>
      </p:sp>
      <p:sp>
        <p:nvSpPr>
          <p:cNvPr id="66" name="Rectangle 35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185057" y="540994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r>
              <a:rPr lang="en-US" sz="1400" dirty="0">
                <a:cs typeface="Arial" charset="0"/>
              </a:rPr>
              <a:t>Nov.</a:t>
            </a:r>
          </a:p>
          <a:p>
            <a:pPr algn="ctr">
              <a:buNone/>
            </a:pPr>
            <a:r>
              <a:rPr lang="en-US" sz="1400" dirty="0">
                <a:cs typeface="Arial" charset="0"/>
              </a:rPr>
              <a:t>2012</a:t>
            </a:r>
          </a:p>
        </p:txBody>
      </p:sp>
      <p:grpSp>
        <p:nvGrpSpPr>
          <p:cNvPr id="31" name="Group 30"/>
          <p:cNvGrpSpPr/>
          <p:nvPr>
            <p:custDataLst>
              <p:tags r:id="rId23"/>
            </p:custDataLst>
          </p:nvPr>
        </p:nvGrpSpPr>
        <p:grpSpPr>
          <a:xfrm>
            <a:off x="3377197" y="6074044"/>
            <a:ext cx="2389608" cy="458388"/>
            <a:chOff x="2455864" y="5953125"/>
            <a:chExt cx="2101850" cy="449263"/>
          </a:xfrm>
        </p:grpSpPr>
        <p:sp>
          <p:nvSpPr>
            <p:cNvPr id="32" name="Rectangle 6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2455864" y="5953125"/>
              <a:ext cx="2101850" cy="449263"/>
            </a:xfrm>
            <a:prstGeom prst="rect">
              <a:avLst/>
            </a:prstGeom>
            <a:solidFill>
              <a:schemeClr val="folHlink"/>
            </a:solidFill>
            <a:ln w="1905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33" name="Rectangle 6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544758" y="6069241"/>
              <a:ext cx="149046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3332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bg1"/>
                  </a:solidFill>
                </a:rPr>
                <a:t>Target:</a:t>
              </a:r>
            </a:p>
          </p:txBody>
        </p:sp>
        <p:sp>
          <p:nvSpPr>
            <p:cNvPr id="34" name="Rectangle 67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946327" y="6069013"/>
              <a:ext cx="522073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r" defTabSz="913332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bg1"/>
                  </a:solidFill>
                </a:rPr>
                <a:t>90%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2273796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2391720"/>
            <a:ext cx="860807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Approaching 1,500,000 extra children age 5-16 enrolled in school since 2011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5214852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1489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4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09" name="Rectangl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07963" y="4150977"/>
            <a:ext cx="955706" cy="887620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 dirty="0">
                <a:solidFill>
                  <a:schemeClr val="bg1"/>
                </a:solidFill>
              </a:rPr>
              <a:t>67%</a:t>
            </a:r>
          </a:p>
        </p:txBody>
      </p:sp>
      <p:sp>
        <p:nvSpPr>
          <p:cNvPr id="12307" name="Rectangle 4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507963" y="3182370"/>
            <a:ext cx="955706" cy="887620"/>
          </a:xfrm>
          <a:prstGeom prst="rect">
            <a:avLst/>
          </a:prstGeom>
          <a:pattFill prst="wdDnDiag">
            <a:fgClr>
              <a:srgbClr val="FFC000"/>
            </a:fgClr>
            <a:bgClr>
              <a:srgbClr val="FF0000"/>
            </a:bgClr>
          </a:patt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76%</a:t>
            </a:r>
          </a:p>
        </p:txBody>
      </p:sp>
      <p:sp>
        <p:nvSpPr>
          <p:cNvPr id="12322" name="Rectangle 2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21031" y="3182370"/>
            <a:ext cx="955706" cy="887620"/>
          </a:xfrm>
          <a:prstGeom prst="rect">
            <a:avLst/>
          </a:prstGeom>
          <a:pattFill prst="wdUpDiag">
            <a:fgClr>
              <a:srgbClr val="FFFF00"/>
            </a:fgClr>
            <a:bgClr>
              <a:schemeClr val="accent2">
                <a:lumMod val="50000"/>
              </a:schemeClr>
            </a:bgClr>
          </a:pattFill>
          <a:ln>
            <a:noFill/>
          </a:ln>
          <a:effectLst/>
          <a:extLst/>
        </p:spPr>
        <p:txBody>
          <a:bodyPr wrap="none" lIns="93286" tIns="46643" rIns="93286" bIns="46643" anchor="ctr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1138" name="Rectangle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>
          <a:xfrm>
            <a:off x="121490" y="304376"/>
            <a:ext cx="9022510" cy="738664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en-GB" sz="2400" dirty="0" smtClean="0"/>
              <a:t>The biggest challenge remains in rural areas</a:t>
            </a:r>
            <a:r>
              <a:rPr lang="en-GB" sz="2400" dirty="0"/>
              <a:t> </a:t>
            </a:r>
            <a:r>
              <a:rPr lang="en-GB" sz="2400" dirty="0" smtClean="0"/>
              <a:t>and among girls</a:t>
            </a:r>
            <a:endParaRPr lang="en-US" sz="2400" dirty="0"/>
          </a:p>
        </p:txBody>
      </p:sp>
      <p:sp>
        <p:nvSpPr>
          <p:cNvPr id="12292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440" y="698339"/>
            <a:ext cx="2726192" cy="34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600" dirty="0">
                <a:solidFill>
                  <a:srgbClr val="808080"/>
                </a:solidFill>
              </a:rPr>
              <a:t>Enrolment for 5-9 year-olds</a:t>
            </a:r>
          </a:p>
        </p:txBody>
      </p:sp>
      <p:sp>
        <p:nvSpPr>
          <p:cNvPr id="12342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21698" y="3182370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43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21698" y="3182370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lIns="64782" tIns="64782" rIns="64782" bIns="0" anchor="ctr" anchorCtr="1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5%</a:t>
            </a:r>
          </a:p>
        </p:txBody>
      </p:sp>
      <p:sp>
        <p:nvSpPr>
          <p:cNvPr id="12340" name="Rectangle 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345439" y="4150977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41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345439" y="4150977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wrap="none" lIns="93286" tIns="46643" rIns="93286" bIns="46643" anchor="ctr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6%</a:t>
            </a:r>
          </a:p>
        </p:txBody>
      </p:sp>
      <p:sp>
        <p:nvSpPr>
          <p:cNvPr id="12338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345439" y="3182370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39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345439" y="3182370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wrap="none" lIns="93286" tIns="46643" rIns="93286" bIns="46643" anchor="ctr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6%</a:t>
            </a:r>
          </a:p>
        </p:txBody>
      </p:sp>
      <p:sp>
        <p:nvSpPr>
          <p:cNvPr id="12336" name="Rectangle 1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21698" y="4150977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 anchorCtr="1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37" name="Rectangle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321698" y="4150977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lIns="64782" tIns="64782" rIns="64782" bIns="0" anchor="ctr" anchorCtr="1"/>
          <a:lstStyle/>
          <a:p>
            <a:pPr marL="349824" indent="-349824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5%</a:t>
            </a:r>
          </a:p>
        </p:txBody>
      </p:sp>
      <p:sp>
        <p:nvSpPr>
          <p:cNvPr id="12331" name="Text Box 16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58955" y="2831516"/>
            <a:ext cx="889292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 dirty="0">
                <a:solidFill>
                  <a:srgbClr val="000000"/>
                </a:solidFill>
              </a:rPr>
              <a:t>Urban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12332" name="Text Box 17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377835" y="2831516"/>
            <a:ext cx="88929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Rural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2333" name="Text Box 1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39262" y="3470684"/>
            <a:ext cx="1035079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3286" tIns="46643" rIns="93286" bIns="46643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Male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2334" name="Text Box 19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5565" y="4499223"/>
            <a:ext cx="1138774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3286" tIns="46643" rIns="93286" bIns="46643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 dirty="0">
                <a:solidFill>
                  <a:srgbClr val="000000"/>
                </a:solidFill>
              </a:rPr>
              <a:t>Female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12335" name="Rectangle 4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03627" y="2133873"/>
            <a:ext cx="2190799" cy="37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b="1" dirty="0">
                <a:solidFill>
                  <a:srgbClr val="000000"/>
                </a:solidFill>
              </a:rPr>
              <a:t>Northern Districts</a:t>
            </a:r>
            <a:r>
              <a:rPr lang="en-US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2325" name="Rectangle 2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897292" y="3182370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26" name="Rectangle 2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897292" y="3182370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lIns="64782" tIns="64782" rIns="64782" bIns="0" anchor="ctr" anchorCtr="1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3%</a:t>
            </a:r>
          </a:p>
        </p:txBody>
      </p:sp>
      <p:sp>
        <p:nvSpPr>
          <p:cNvPr id="12324" name="Rectangle 2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921031" y="4150977"/>
            <a:ext cx="955706" cy="887620"/>
          </a:xfrm>
          <a:prstGeom prst="rect">
            <a:avLst/>
          </a:prstGeom>
          <a:pattFill prst="wdDnDiag">
            <a:fgClr>
              <a:srgbClr val="FFC000"/>
            </a:fgClr>
            <a:bgClr>
              <a:srgbClr val="FF0000"/>
            </a:bgClr>
          </a:patt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93286" tIns="46643" rIns="93286" bIns="46643" anchor="ctr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319" name="Rectangle 3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897292" y="4150977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 anchorCtr="1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20" name="Rectangle 3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897292" y="4150977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lIns="64782" tIns="64782" rIns="64782" bIns="0" anchor="ctr" anchorCtr="1"/>
          <a:lstStyle/>
          <a:p>
            <a:pPr marL="349824" indent="-349824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2%</a:t>
            </a:r>
          </a:p>
        </p:txBody>
      </p:sp>
      <p:sp>
        <p:nvSpPr>
          <p:cNvPr id="12316" name="Text Box 32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934549" y="2813698"/>
            <a:ext cx="889292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Urban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2317" name="Text Box 3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953426" y="2813698"/>
            <a:ext cx="88929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Rural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2318" name="Rectangle 49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885039" y="2133873"/>
            <a:ext cx="2007823" cy="37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b="1" dirty="0">
                <a:solidFill>
                  <a:srgbClr val="000000"/>
                </a:solidFill>
              </a:rPr>
              <a:t>Central Districts</a:t>
            </a:r>
            <a:r>
              <a:rPr lang="en-US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2310" name="Rectangle 3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484222" y="3182370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11" name="Rectangle 3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484222" y="3182370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lIns="64782" tIns="64782" rIns="64782" bIns="0" anchor="ctr" anchorCtr="1"/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2%</a:t>
            </a:r>
          </a:p>
        </p:txBody>
      </p:sp>
      <p:sp>
        <p:nvSpPr>
          <p:cNvPr id="12304" name="Rectangle 44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484222" y="4150977"/>
            <a:ext cx="955706" cy="887620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 anchorCtr="1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2305" name="Rectangle 45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484222" y="4150977"/>
            <a:ext cx="955706" cy="8876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  <a:extLst/>
        </p:spPr>
        <p:txBody>
          <a:bodyPr lIns="64782" tIns="64782" rIns="64782" bIns="0" anchor="ctr" anchorCtr="1"/>
          <a:lstStyle/>
          <a:p>
            <a:pPr marL="349824" indent="-349824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chemeClr val="bg1"/>
                </a:solidFill>
              </a:rPr>
              <a:t>91%</a:t>
            </a:r>
          </a:p>
        </p:txBody>
      </p:sp>
      <p:sp>
        <p:nvSpPr>
          <p:cNvPr id="12301" name="Text Box 46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521479" y="2794261"/>
            <a:ext cx="88929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Urban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2302" name="Text Box 47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7540358" y="2794261"/>
            <a:ext cx="889292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Rural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2303" name="Rectangle 50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6361930" y="2133873"/>
            <a:ext cx="2230017" cy="37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b="1" dirty="0">
                <a:solidFill>
                  <a:srgbClr val="000000"/>
                </a:solidFill>
              </a:rPr>
              <a:t>Southern Districts</a:t>
            </a:r>
            <a:r>
              <a:rPr lang="en-US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2296" name="McK 5. Source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10" indent="-621910" defTabSz="913429">
              <a:spcBef>
                <a:spcPct val="0"/>
              </a:spcBef>
              <a:spcAft>
                <a:spcPct val="0"/>
              </a:spcAft>
              <a:tabLst>
                <a:tab pos="625148" algn="l"/>
              </a:tabLst>
            </a:pPr>
            <a:r>
              <a:rPr lang="en-GB" sz="1000">
                <a:solidFill>
                  <a:srgbClr val="000000"/>
                </a:solidFill>
              </a:rPr>
              <a:t>SOURCE: Nielsen Household Survey December 2012</a:t>
            </a:r>
          </a:p>
        </p:txBody>
      </p:sp>
      <p:sp>
        <p:nvSpPr>
          <p:cNvPr id="57" name="Rectangle 28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126086" y="3447782"/>
            <a:ext cx="545591" cy="3567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/>
        </p:spPr>
        <p:txBody>
          <a:bodyPr wrap="none" lIns="36727" tIns="36727" rIns="36727" bIns="36727" anchor="ctr">
            <a:spAutoFit/>
          </a:bodyPr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 dirty="0">
                <a:solidFill>
                  <a:schemeClr val="bg1"/>
                </a:solidFill>
              </a:rPr>
              <a:t>88%</a:t>
            </a:r>
          </a:p>
        </p:txBody>
      </p:sp>
      <p:sp>
        <p:nvSpPr>
          <p:cNvPr id="58" name="Rectangle 28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713020" y="3447782"/>
            <a:ext cx="545591" cy="3567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/>
        </p:spPr>
        <p:txBody>
          <a:bodyPr wrap="none" lIns="36727" tIns="36727" rIns="36727" bIns="36727" anchor="ctr">
            <a:spAutoFit/>
          </a:bodyPr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 dirty="0" smtClean="0">
                <a:solidFill>
                  <a:schemeClr val="bg1"/>
                </a:solidFill>
              </a:rPr>
              <a:t>76%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9" name="Rectangle 28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5126088" y="4416389"/>
            <a:ext cx="545591" cy="3567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/>
        </p:spPr>
        <p:txBody>
          <a:bodyPr wrap="none" lIns="36727" tIns="36727" rIns="36727" bIns="36727" anchor="ctr">
            <a:spAutoFit/>
          </a:bodyPr>
          <a:lstStyle/>
          <a:p>
            <a:pPr marL="349824" indent="-349824" algn="ctr" defTabSz="913429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 dirty="0" smtClean="0">
                <a:solidFill>
                  <a:schemeClr val="bg1"/>
                </a:solidFill>
              </a:rPr>
              <a:t>82%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0" name="Slide Number Placeholder 2"/>
          <p:cNvSpPr txBox="1"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976653" y="6606942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6" tIns="46639" rIns="93276" bIns="46639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6C9D713-23A1-4B54-9F0B-CC1ADA2BF4D0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2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8346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7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" name="think-cell Slide" r:id="rId129" imgW="270" imgH="270" progId="TCLayout.ActiveDocument.1">
                  <p:embed/>
                </p:oleObj>
              </mc:Choice>
              <mc:Fallback>
                <p:oleObj name="think-cell Slide" r:id="rId12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sz="1200">
              <a:solidFill>
                <a:srgbClr val="000000"/>
              </a:solidFill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11271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 bwMode="gray">
          <a:xfrm>
            <a:off x="121490" y="132819"/>
            <a:ext cx="8794113" cy="377401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sz="2400" dirty="0"/>
              <a:t>In 2013, our focus will need to be on the South</a:t>
            </a:r>
            <a:endParaRPr lang="en-US" sz="2400" dirty="0"/>
          </a:p>
        </p:txBody>
      </p:sp>
      <p:graphicFrame>
        <p:nvGraphicFramePr>
          <p:cNvPr id="11272" name="Object 13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56565027"/>
              </p:ext>
            </p:extLst>
          </p:nvPr>
        </p:nvGraphicFramePr>
        <p:xfrm>
          <a:off x="1417639" y="877888"/>
          <a:ext cx="2773362" cy="576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6" name="Chart" r:id="rId131" imgW="2717800" imgH="5651500" progId="MSGraph.Chart.8">
                  <p:embed followColorScheme="full"/>
                </p:oleObj>
              </mc:Choice>
              <mc:Fallback>
                <p:oleObj name="Chart" r:id="rId131" imgW="2717800" imgH="56515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2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17639" y="877888"/>
                        <a:ext cx="2773362" cy="5765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3" name="Rectangle 23"/>
          <p:cNvSpPr>
            <a:spLocks noGrp="1" noChangeArrowheads="1"/>
          </p:cNvSpPr>
          <p:nvPr>
            <p:ph type="body" idx="4294967295"/>
            <p:custDataLst>
              <p:tags r:id="rId6"/>
            </p:custDataLst>
          </p:nvPr>
        </p:nvSpPr>
        <p:spPr bwMode="gray">
          <a:xfrm>
            <a:off x="247838" y="6176088"/>
            <a:ext cx="1137128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676025A1-E4CE-4F08-A78F-247E68AFD57A}" type="datetime'''R''ah''im'''''''''''''''''' ''''''''Y''ar ''K''ha''''''n'">
              <a:rPr lang="en-US" sz="1200"/>
              <a:pPr marL="0" indent="0" eaLnBrk="1" hangingPunct="1"/>
              <a:t>Rahim Yar Khan</a:t>
            </a:fld>
            <a:endParaRPr lang="en-US" sz="1200"/>
          </a:p>
        </p:txBody>
      </p:sp>
      <p:sp>
        <p:nvSpPr>
          <p:cNvPr id="11274" name="Rectangle 24"/>
          <p:cNvSpPr>
            <a:spLocks noGrp="1" noChangeArrowheads="1"/>
          </p:cNvSpPr>
          <p:nvPr>
            <p:ph type="body" idx="4294967295"/>
            <p:custDataLst>
              <p:tags r:id="rId7"/>
            </p:custDataLst>
          </p:nvPr>
        </p:nvSpPr>
        <p:spPr bwMode="gray">
          <a:xfrm>
            <a:off x="247838" y="6025453"/>
            <a:ext cx="1188963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E3EC385D-5756-4388-B1FC-239B4AF89783}" type="datetime'D''e''''r''''a'' Gha''''zi'''''''' ''K''h''a''n'''''''''''''''">
              <a:rPr lang="en-US" sz="1200"/>
              <a:pPr marL="0" indent="0" eaLnBrk="1" hangingPunct="1"/>
              <a:t>Dera Ghazi Khan</a:t>
            </a:fld>
            <a:endParaRPr lang="en-US" sz="1200"/>
          </a:p>
        </p:txBody>
      </p:sp>
      <p:sp>
        <p:nvSpPr>
          <p:cNvPr id="11275" name="Rectangle 11"/>
          <p:cNvSpPr>
            <a:spLocks noGrp="1" noChangeArrowheads="1"/>
          </p:cNvSpPr>
          <p:nvPr>
            <p:ph type="body" idx="4294967295"/>
            <p:custDataLst>
              <p:tags r:id="rId8"/>
            </p:custDataLst>
          </p:nvPr>
        </p:nvSpPr>
        <p:spPr bwMode="gray">
          <a:xfrm>
            <a:off x="247836" y="5874815"/>
            <a:ext cx="913590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25A892EF-39A5-47EB-9A6B-959DA072E5E2}" type="datetime'''''''''''''''Mu''''za''''''''''f''''''''farg''arh'''''''''">
              <a:rPr lang="en-US" sz="1200"/>
              <a:pPr marL="0" indent="0" eaLnBrk="1" hangingPunct="1"/>
              <a:t>Muzaffargarh</a:t>
            </a:fld>
            <a:endParaRPr lang="en-US" sz="1200"/>
          </a:p>
        </p:txBody>
      </p:sp>
      <p:sp>
        <p:nvSpPr>
          <p:cNvPr id="11276" name="Rectangle 10"/>
          <p:cNvSpPr>
            <a:spLocks noGrp="1" noChangeArrowheads="1"/>
          </p:cNvSpPr>
          <p:nvPr>
            <p:ph type="body" idx="4294967295"/>
            <p:custDataLst>
              <p:tags r:id="rId9"/>
            </p:custDataLst>
          </p:nvPr>
        </p:nvSpPr>
        <p:spPr bwMode="gray">
          <a:xfrm>
            <a:off x="247836" y="5724180"/>
            <a:ext cx="816400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054A3E58-0FE5-49DA-88C0-0E611C3F7023}" type="datetime'''''''''B''''ah''''''a''''w''''al''''''p''u''''r'''''''''''">
              <a:rPr lang="en-US" sz="1200"/>
              <a:pPr marL="0" indent="0" eaLnBrk="1" hangingPunct="1"/>
              <a:t>Bahawalpur</a:t>
            </a:fld>
            <a:endParaRPr lang="en-US" sz="1200"/>
          </a:p>
        </p:txBody>
      </p:sp>
      <p:sp>
        <p:nvSpPr>
          <p:cNvPr id="11277" name="Rectangle 9"/>
          <p:cNvSpPr>
            <a:spLocks noGrp="1" noChangeArrowheads="1"/>
          </p:cNvSpPr>
          <p:nvPr>
            <p:ph type="body" idx="4294967295"/>
            <p:custDataLst>
              <p:tags r:id="rId10"/>
            </p:custDataLst>
          </p:nvPr>
        </p:nvSpPr>
        <p:spPr bwMode="gray">
          <a:xfrm>
            <a:off x="247837" y="5573543"/>
            <a:ext cx="698151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34B7F0F4-799E-4868-AF3B-9878B2F0CB8A}" type="datetime'''P''''''''''''''''''ak''p''a''''''t''t''''''''''''''''an'''">
              <a:rPr lang="en-US" sz="1200"/>
              <a:pPr marL="0" indent="0" eaLnBrk="1" hangingPunct="1"/>
              <a:t>Pakpattan</a:t>
            </a:fld>
            <a:endParaRPr lang="en-US" sz="1200"/>
          </a:p>
        </p:txBody>
      </p:sp>
      <p:sp>
        <p:nvSpPr>
          <p:cNvPr id="11278" name="Rectangle 8"/>
          <p:cNvSpPr>
            <a:spLocks noGrp="1" noChangeArrowheads="1"/>
          </p:cNvSpPr>
          <p:nvPr>
            <p:ph type="body" idx="4294967295"/>
            <p:custDataLst>
              <p:tags r:id="rId11"/>
            </p:custDataLst>
          </p:nvPr>
        </p:nvSpPr>
        <p:spPr bwMode="gray">
          <a:xfrm>
            <a:off x="247836" y="5422908"/>
            <a:ext cx="447076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313E252D-F170-4D0F-AA07-50E3741CD0C7}" type="datetime'''''Ve''''''''''h''''''''''''''ar''''''''''''i'''''''''''">
              <a:rPr lang="en-US" sz="1200"/>
              <a:pPr marL="0" indent="0" eaLnBrk="1" hangingPunct="1"/>
              <a:t>Vehari</a:t>
            </a:fld>
            <a:endParaRPr lang="en-US" sz="1200"/>
          </a:p>
        </p:txBody>
      </p:sp>
      <p:sp>
        <p:nvSpPr>
          <p:cNvPr id="11279" name="Rectangle 26"/>
          <p:cNvSpPr>
            <a:spLocks noGrp="1" noChangeArrowheads="1"/>
          </p:cNvSpPr>
          <p:nvPr>
            <p:ph type="body" idx="4294967295"/>
            <p:custDataLst>
              <p:tags r:id="rId12"/>
            </p:custDataLst>
          </p:nvPr>
        </p:nvSpPr>
        <p:spPr bwMode="gray">
          <a:xfrm>
            <a:off x="247838" y="5267412"/>
            <a:ext cx="566944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EE23ED4D-C2BF-4210-836C-CC96C1CAE1B7}" type="datetime'''L''''''''''''''o''''d''''''''''''h''''ran'''''''''''''''''">
              <a:rPr lang="en-US" sz="1200"/>
              <a:pPr marL="0" indent="0" eaLnBrk="1" hangingPunct="1"/>
              <a:t>Lodhran</a:t>
            </a:fld>
            <a:endParaRPr lang="en-US" sz="1200"/>
          </a:p>
        </p:txBody>
      </p:sp>
      <p:sp>
        <p:nvSpPr>
          <p:cNvPr id="11280" name="Rectangle 12"/>
          <p:cNvSpPr>
            <a:spLocks noGrp="1" noChangeArrowheads="1"/>
          </p:cNvSpPr>
          <p:nvPr>
            <p:ph type="body" idx="4294967295"/>
            <p:custDataLst>
              <p:tags r:id="rId13"/>
            </p:custDataLst>
          </p:nvPr>
        </p:nvSpPr>
        <p:spPr bwMode="gray">
          <a:xfrm>
            <a:off x="247837" y="5116775"/>
            <a:ext cx="678713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B9268B86-AF4C-4CBB-92C4-9B18909E8290}" type="datetime'K''''''''''h''''''an''''''''''e''''wa''''''''l'''''''">
              <a:rPr lang="en-US" sz="1200"/>
              <a:pPr marL="0" indent="0" eaLnBrk="1" hangingPunct="1"/>
              <a:t>Khanewal</a:t>
            </a:fld>
            <a:endParaRPr lang="en-US" sz="1200"/>
          </a:p>
        </p:txBody>
      </p:sp>
      <p:sp>
        <p:nvSpPr>
          <p:cNvPr id="11281" name="Rectangle 25"/>
          <p:cNvSpPr>
            <a:spLocks noGrp="1" noChangeArrowheads="1"/>
          </p:cNvSpPr>
          <p:nvPr>
            <p:ph type="body" idx="4294967295"/>
            <p:custDataLst>
              <p:tags r:id="rId14"/>
            </p:custDataLst>
          </p:nvPr>
        </p:nvSpPr>
        <p:spPr bwMode="gray">
          <a:xfrm>
            <a:off x="247836" y="4966140"/>
            <a:ext cx="568563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F61850F6-1299-4110-A0C1-1AFF33977050}" type="datetime'''B''''h''''a''''k''k''''''''''''a''''''''''''''r'''">
              <a:rPr lang="en-US" sz="1200"/>
              <a:pPr marL="0" indent="0" eaLnBrk="1" hangingPunct="1"/>
              <a:t>Bhakkar</a:t>
            </a:fld>
            <a:endParaRPr lang="en-US" sz="1200"/>
          </a:p>
        </p:txBody>
      </p:sp>
      <p:sp>
        <p:nvSpPr>
          <p:cNvPr id="11282" name="Rectangle 43"/>
          <p:cNvSpPr>
            <a:spLocks noGrp="1" noChangeArrowheads="1"/>
          </p:cNvSpPr>
          <p:nvPr>
            <p:ph type="body" idx="4294967295"/>
            <p:custDataLst>
              <p:tags r:id="rId15"/>
            </p:custDataLst>
          </p:nvPr>
        </p:nvSpPr>
        <p:spPr bwMode="gray">
          <a:xfrm>
            <a:off x="247836" y="4815502"/>
            <a:ext cx="464894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2B1B1965-3605-43E5-8EFB-8D1862DB9D7A}" type="datetime'M''''''ult''''''''''''''a''''''n'''''">
              <a:rPr lang="en-US" sz="1200"/>
              <a:pPr marL="0" indent="0" eaLnBrk="1" hangingPunct="1"/>
              <a:t>Multan</a:t>
            </a:fld>
            <a:endParaRPr lang="en-US" sz="1200"/>
          </a:p>
        </p:txBody>
      </p:sp>
      <p:sp>
        <p:nvSpPr>
          <p:cNvPr id="11283" name="Rectangle 27"/>
          <p:cNvSpPr>
            <a:spLocks noGrp="1" noChangeArrowheads="1"/>
          </p:cNvSpPr>
          <p:nvPr>
            <p:ph type="body" idx="4294967295"/>
            <p:custDataLst>
              <p:tags r:id="rId16"/>
            </p:custDataLst>
          </p:nvPr>
        </p:nvSpPr>
        <p:spPr bwMode="gray">
          <a:xfrm>
            <a:off x="247838" y="4664867"/>
            <a:ext cx="481092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494DCA38-189A-456F-86A3-F77405F1913D}" type="datetime'''Ch''''i''''''n''''''''i''''''''''''o''t'''''''''''">
              <a:rPr lang="en-US" sz="1200"/>
              <a:pPr marL="0" indent="0" eaLnBrk="1" hangingPunct="1"/>
              <a:t>Chiniot</a:t>
            </a:fld>
            <a:endParaRPr lang="en-US" sz="1200"/>
          </a:p>
        </p:txBody>
      </p:sp>
      <p:sp>
        <p:nvSpPr>
          <p:cNvPr id="11284" name="Rectangle 28"/>
          <p:cNvSpPr>
            <a:spLocks noGrp="1" noChangeArrowheads="1"/>
          </p:cNvSpPr>
          <p:nvPr>
            <p:ph type="body" idx="4294967295"/>
            <p:custDataLst>
              <p:tags r:id="rId17"/>
            </p:custDataLst>
          </p:nvPr>
        </p:nvSpPr>
        <p:spPr bwMode="gray">
          <a:xfrm>
            <a:off x="247837" y="4509371"/>
            <a:ext cx="541027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C23AE2A8-312E-40C2-99AC-DF0882004E7E}" type="datetime'S''a''''''''''''''''''''h''i''''w''''''''a''l'">
              <a:rPr lang="en-US" sz="1200"/>
              <a:pPr marL="0" indent="0" eaLnBrk="1" hangingPunct="1"/>
              <a:t>Sahiwal</a:t>
            </a:fld>
            <a:endParaRPr lang="en-US" sz="1200"/>
          </a:p>
        </p:txBody>
      </p:sp>
      <p:sp>
        <p:nvSpPr>
          <p:cNvPr id="11285" name="Rectangle 29"/>
          <p:cNvSpPr>
            <a:spLocks noGrp="1" noChangeArrowheads="1"/>
          </p:cNvSpPr>
          <p:nvPr>
            <p:ph type="body" idx="4294967295"/>
            <p:custDataLst>
              <p:tags r:id="rId18"/>
            </p:custDataLst>
          </p:nvPr>
        </p:nvSpPr>
        <p:spPr bwMode="gray">
          <a:xfrm>
            <a:off x="247836" y="4358734"/>
            <a:ext cx="498911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C0CDBFE6-8973-4BF2-980C-4EC506BC201D}" type="datetime'L''''''''a''''''''''''''y''''''''y''''''''a''h'''''''''">
              <a:rPr lang="en-US" sz="1200"/>
              <a:pPr marL="0" indent="0" eaLnBrk="1" hangingPunct="1"/>
              <a:t>Layyah</a:t>
            </a:fld>
            <a:endParaRPr lang="en-US" sz="1200"/>
          </a:p>
        </p:txBody>
      </p:sp>
      <p:sp>
        <p:nvSpPr>
          <p:cNvPr id="11286" name="Rectangle 30"/>
          <p:cNvSpPr>
            <a:spLocks noGrp="1" noChangeArrowheads="1"/>
          </p:cNvSpPr>
          <p:nvPr>
            <p:ph type="body" idx="4294967295"/>
            <p:custDataLst>
              <p:tags r:id="rId19"/>
            </p:custDataLst>
          </p:nvPr>
        </p:nvSpPr>
        <p:spPr bwMode="gray">
          <a:xfrm>
            <a:off x="247836" y="4208099"/>
            <a:ext cx="868234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B598C7B0-835A-4F5F-B532-E884387915C3}" type="datetime'''''''''''''''''''Sh''ei''''kh''''''''''''u''pu''r''''''a'">
              <a:rPr lang="en-US" sz="1200"/>
              <a:pPr marL="0" indent="0" eaLnBrk="1" hangingPunct="1"/>
              <a:t>Sheikhupura</a:t>
            </a:fld>
            <a:endParaRPr lang="en-US" sz="1200"/>
          </a:p>
        </p:txBody>
      </p:sp>
      <p:sp>
        <p:nvSpPr>
          <p:cNvPr id="11287" name="Rectangle 19"/>
          <p:cNvSpPr>
            <a:spLocks noGrp="1" noChangeArrowheads="1"/>
          </p:cNvSpPr>
          <p:nvPr>
            <p:ph type="body" idx="4294967295"/>
            <p:custDataLst>
              <p:tags r:id="rId20"/>
            </p:custDataLst>
          </p:nvPr>
        </p:nvSpPr>
        <p:spPr bwMode="gray">
          <a:xfrm>
            <a:off x="247837" y="4057462"/>
            <a:ext cx="988103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A699EC05-8757-435B-A17C-AE19D594CFB0}" type="datetime'''''''B''a''''h''''a''''''wal''n''''a''''''''''g''ar'">
              <a:rPr lang="en-US" sz="1200"/>
              <a:pPr marL="0" indent="0" eaLnBrk="1" hangingPunct="1"/>
              <a:t>Bahawalnagar</a:t>
            </a:fld>
            <a:endParaRPr lang="en-US" sz="1200"/>
          </a:p>
        </p:txBody>
      </p:sp>
      <p:sp>
        <p:nvSpPr>
          <p:cNvPr id="11288" name="Rectangle 20"/>
          <p:cNvSpPr>
            <a:spLocks noGrp="1" noChangeArrowheads="1"/>
          </p:cNvSpPr>
          <p:nvPr>
            <p:ph type="body" idx="4294967295"/>
            <p:custDataLst>
              <p:tags r:id="rId21"/>
            </p:custDataLst>
          </p:nvPr>
        </p:nvSpPr>
        <p:spPr bwMode="gray">
          <a:xfrm>
            <a:off x="247837" y="3906826"/>
            <a:ext cx="421159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F1F338EE-33E6-4EFC-84E3-E0A657E30A96}" type="datetime'''''''''''J''''h''''a''''''''''''''''''n''''''''''''''''g'''''">
              <a:rPr lang="en-US" sz="1200"/>
              <a:pPr marL="0" indent="0" eaLnBrk="1" hangingPunct="1"/>
              <a:t>Jhang</a:t>
            </a:fld>
            <a:endParaRPr lang="en-US" sz="1200"/>
          </a:p>
        </p:txBody>
      </p:sp>
      <p:sp>
        <p:nvSpPr>
          <p:cNvPr id="11289" name="Rectangle 21"/>
          <p:cNvSpPr>
            <a:spLocks noGrp="1" noChangeArrowheads="1"/>
          </p:cNvSpPr>
          <p:nvPr>
            <p:ph type="body" idx="4294967295"/>
            <p:custDataLst>
              <p:tags r:id="rId22"/>
            </p:custDataLst>
          </p:nvPr>
        </p:nvSpPr>
        <p:spPr bwMode="gray">
          <a:xfrm>
            <a:off x="247838" y="3756189"/>
            <a:ext cx="610679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D3F255AC-9225-4BC4-AA9B-BDDC388EA870}" type="datetime'''''K''''''''h''''''''us''''''''''''''''''h''''''''a''''''''b'">
              <a:rPr lang="en-US" sz="1200"/>
              <a:pPr marL="0" indent="0" eaLnBrk="1" hangingPunct="1"/>
              <a:t>Khushab</a:t>
            </a:fld>
            <a:endParaRPr lang="en-US" sz="1200"/>
          </a:p>
        </p:txBody>
      </p:sp>
      <p:sp>
        <p:nvSpPr>
          <p:cNvPr id="11290" name="Rectangle 37"/>
          <p:cNvSpPr>
            <a:spLocks noGrp="1" noChangeArrowheads="1"/>
          </p:cNvSpPr>
          <p:nvPr>
            <p:ph type="body" idx="4294967295"/>
            <p:custDataLst>
              <p:tags r:id="rId23"/>
            </p:custDataLst>
          </p:nvPr>
        </p:nvSpPr>
        <p:spPr bwMode="gray">
          <a:xfrm>
            <a:off x="247838" y="3605554"/>
            <a:ext cx="404960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F13C87F5-1406-4630-8DA4-2EC007F499BD}" type="datetime'''''''''''''''''''''''''''''K''''''''a''s''''ur'''''">
              <a:rPr lang="en-US" sz="1200"/>
              <a:pPr marL="0" indent="0" eaLnBrk="1" hangingPunct="1"/>
              <a:t>Kasur</a:t>
            </a:fld>
            <a:endParaRPr lang="en-US" sz="1200"/>
          </a:p>
        </p:txBody>
      </p:sp>
      <p:sp>
        <p:nvSpPr>
          <p:cNvPr id="11291" name="Rectangle 22"/>
          <p:cNvSpPr>
            <a:spLocks noGrp="1" noChangeArrowheads="1"/>
          </p:cNvSpPr>
          <p:nvPr>
            <p:ph type="body" idx="4294967295"/>
            <p:custDataLst>
              <p:tags r:id="rId24"/>
            </p:custDataLst>
          </p:nvPr>
        </p:nvSpPr>
        <p:spPr bwMode="gray">
          <a:xfrm>
            <a:off x="247838" y="6326725"/>
            <a:ext cx="626879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AE1D4FD4-B51B-45D8-BD11-46CF72EABF81}" type="datetime'''''''''R''a''''''j''a''''''''''n''''''p''u''''r'''''''''''">
              <a:rPr lang="en-US" sz="1200"/>
              <a:pPr marL="0" indent="0" eaLnBrk="1" hangingPunct="1"/>
              <a:t>Rajanpur</a:t>
            </a:fld>
            <a:endParaRPr lang="en-US" sz="1200"/>
          </a:p>
        </p:txBody>
      </p:sp>
      <p:sp>
        <p:nvSpPr>
          <p:cNvPr id="11292" name="Rectangle 39"/>
          <p:cNvSpPr>
            <a:spLocks noGrp="1" noChangeArrowheads="1"/>
          </p:cNvSpPr>
          <p:nvPr>
            <p:ph type="body" idx="4294967295"/>
            <p:custDataLst>
              <p:tags r:id="rId25"/>
            </p:custDataLst>
          </p:nvPr>
        </p:nvSpPr>
        <p:spPr bwMode="gray">
          <a:xfrm>
            <a:off x="247836" y="3299421"/>
            <a:ext cx="600960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4E3158AC-AE76-4CB8-BC6B-6589E93838FB}" type="datetime'M''''''''ia''''''''''''nw''a''''''''li'''''''''''''''">
              <a:rPr lang="en-US" sz="1200"/>
              <a:pPr marL="0" indent="0" eaLnBrk="1" hangingPunct="1"/>
              <a:t>Mianwali</a:t>
            </a:fld>
            <a:endParaRPr lang="en-US" sz="1200"/>
          </a:p>
        </p:txBody>
      </p:sp>
      <p:sp>
        <p:nvSpPr>
          <p:cNvPr id="11293" name="Rectangle 40"/>
          <p:cNvSpPr>
            <a:spLocks noGrp="1" noChangeArrowheads="1"/>
          </p:cNvSpPr>
          <p:nvPr>
            <p:ph type="body" idx="4294967295"/>
            <p:custDataLst>
              <p:tags r:id="rId26"/>
            </p:custDataLst>
          </p:nvPr>
        </p:nvSpPr>
        <p:spPr bwMode="gray">
          <a:xfrm>
            <a:off x="247838" y="3148786"/>
            <a:ext cx="422778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C3D69275-A67E-4D95-80A5-6D39134DC1A6}" type="datetime'''''''''''''''O''''''''k''a''''''''''''ra'''''''''''''''''''">
              <a:rPr lang="en-US" sz="1200"/>
              <a:pPr marL="0" indent="0" eaLnBrk="1" hangingPunct="1"/>
              <a:t>Okara</a:t>
            </a:fld>
            <a:endParaRPr lang="en-US" sz="1200"/>
          </a:p>
        </p:txBody>
      </p:sp>
      <p:sp>
        <p:nvSpPr>
          <p:cNvPr id="11294" name="Rectangle 41"/>
          <p:cNvSpPr>
            <a:spLocks noGrp="1" noChangeArrowheads="1"/>
          </p:cNvSpPr>
          <p:nvPr>
            <p:ph type="body" idx="4294967295"/>
            <p:custDataLst>
              <p:tags r:id="rId27"/>
            </p:custDataLst>
          </p:nvPr>
        </p:nvSpPr>
        <p:spPr bwMode="gray">
          <a:xfrm>
            <a:off x="247838" y="2998148"/>
            <a:ext cx="756466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99AE77A4-59CF-495B-9662-EDE6F627A1E4}" type="datetime'''''''F''''''ai''s''''''''a''la''b''''''''''''a''''d'">
              <a:rPr lang="en-US" sz="1200"/>
              <a:pPr marL="0" indent="0" eaLnBrk="1" hangingPunct="1"/>
              <a:t>Faisalabad</a:t>
            </a:fld>
            <a:endParaRPr lang="en-US" sz="1200"/>
          </a:p>
        </p:txBody>
      </p:sp>
      <p:sp>
        <p:nvSpPr>
          <p:cNvPr id="11295" name="Rectangle 36"/>
          <p:cNvSpPr>
            <a:spLocks noGrp="1" noChangeArrowheads="1"/>
          </p:cNvSpPr>
          <p:nvPr>
            <p:ph type="body" idx="4294967295"/>
            <p:custDataLst>
              <p:tags r:id="rId28"/>
            </p:custDataLst>
          </p:nvPr>
        </p:nvSpPr>
        <p:spPr bwMode="gray">
          <a:xfrm>
            <a:off x="247836" y="2847513"/>
            <a:ext cx="1095012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683734F9-F611-4923-92F7-540F72380561}" type="datetime'To''''ba'''' ''Te''''''k'''' S''''''''''''''i''''''ng''''''h'">
              <a:rPr lang="en-US" sz="1200"/>
              <a:pPr marL="0" indent="0" eaLnBrk="1" hangingPunct="1"/>
              <a:t>Toba Tek Singh</a:t>
            </a:fld>
            <a:endParaRPr lang="en-US" sz="1200"/>
          </a:p>
        </p:txBody>
      </p:sp>
      <p:sp>
        <p:nvSpPr>
          <p:cNvPr id="11296" name="Rectangle 35"/>
          <p:cNvSpPr>
            <a:spLocks noGrp="1" noChangeArrowheads="1"/>
          </p:cNvSpPr>
          <p:nvPr>
            <p:ph type="body" idx="4294967295"/>
            <p:custDataLst>
              <p:tags r:id="rId29"/>
            </p:custDataLst>
          </p:nvPr>
        </p:nvSpPr>
        <p:spPr bwMode="gray">
          <a:xfrm>
            <a:off x="247838" y="2692018"/>
            <a:ext cx="670614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4F359D01-1F8C-4687-A26E-1DAC26DFED0A}" type="datetime'''Sa''''''''''r''''''g''''o''''''d''''''''h''a'''">
              <a:rPr lang="en-US" sz="1200"/>
              <a:pPr marL="0" indent="0" eaLnBrk="1" hangingPunct="1"/>
              <a:t>Sargodha</a:t>
            </a:fld>
            <a:endParaRPr lang="en-US" sz="1200"/>
          </a:p>
        </p:txBody>
      </p:sp>
      <p:sp>
        <p:nvSpPr>
          <p:cNvPr id="11297" name="Rectangle 34"/>
          <p:cNvSpPr>
            <a:spLocks noGrp="1" noChangeArrowheads="1"/>
          </p:cNvSpPr>
          <p:nvPr>
            <p:ph type="body" idx="4294967295"/>
            <p:custDataLst>
              <p:tags r:id="rId30"/>
            </p:custDataLst>
          </p:nvPr>
        </p:nvSpPr>
        <p:spPr bwMode="gray">
          <a:xfrm>
            <a:off x="247838" y="2541380"/>
            <a:ext cx="481092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542E52FF-A1F7-4482-A566-A0A5DAB934B7}" type="datetime'''''''''L''a''''''''''''h''''''o''''''''''r''''e'''''''''''">
              <a:rPr lang="en-US" sz="1200"/>
              <a:pPr marL="0" indent="0" eaLnBrk="1" hangingPunct="1"/>
              <a:t>Lahore</a:t>
            </a:fld>
            <a:endParaRPr lang="en-US" sz="1200"/>
          </a:p>
        </p:txBody>
      </p:sp>
      <p:sp>
        <p:nvSpPr>
          <p:cNvPr id="11298" name="Rectangle 33"/>
          <p:cNvSpPr>
            <a:spLocks noGrp="1" noChangeArrowheads="1"/>
          </p:cNvSpPr>
          <p:nvPr>
            <p:ph type="body" idx="4294967295"/>
            <p:custDataLst>
              <p:tags r:id="rId31"/>
            </p:custDataLst>
          </p:nvPr>
        </p:nvSpPr>
        <p:spPr bwMode="gray">
          <a:xfrm>
            <a:off x="247839" y="2390745"/>
            <a:ext cx="696531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indent="0" eaLnBrk="1" hangingPunct="1"/>
            <a:fld id="{ADE453E4-F41A-458C-8579-45C5D1872C33}" type="datetime'''''Haf''''''''i''''''''''''''''''za''''b''''''''ad'''''">
              <a:rPr lang="en-US" sz="1200"/>
              <a:pPr marL="0" indent="0" eaLnBrk="1" hangingPunct="1"/>
              <a:t>Hafizabad</a:t>
            </a:fld>
            <a:endParaRPr lang="en-US" sz="1200"/>
          </a:p>
        </p:txBody>
      </p:sp>
      <p:sp>
        <p:nvSpPr>
          <p:cNvPr id="11299" name="Rectangle 32"/>
          <p:cNvSpPr>
            <a:spLocks noGrp="1" noChangeArrowheads="1"/>
          </p:cNvSpPr>
          <p:nvPr>
            <p:ph type="body" idx="4294967295"/>
            <p:custDataLst>
              <p:tags r:id="rId32"/>
            </p:custDataLst>
          </p:nvPr>
        </p:nvSpPr>
        <p:spPr bwMode="gray">
          <a:xfrm>
            <a:off x="247836" y="2240108"/>
            <a:ext cx="1203541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3A909A87-509C-44B7-8904-E584BE5D4F0E}" type="datetime'''''M''''''a''''n''''''''di ''''''Ba''''''''''ha''''ud''din'">
              <a:rPr lang="en-US" sz="1200"/>
              <a:pPr marL="0" indent="0" eaLnBrk="1" hangingPunct="1"/>
              <a:t>Mandi Bahauddin</a:t>
            </a:fld>
            <a:endParaRPr lang="en-US" sz="1200"/>
          </a:p>
        </p:txBody>
      </p:sp>
      <p:sp>
        <p:nvSpPr>
          <p:cNvPr id="11300" name="Rectangle 31"/>
          <p:cNvSpPr>
            <a:spLocks noGrp="1" noChangeArrowheads="1"/>
          </p:cNvSpPr>
          <p:nvPr>
            <p:ph type="body" idx="4294967295"/>
            <p:custDataLst>
              <p:tags r:id="rId33"/>
            </p:custDataLst>
          </p:nvPr>
        </p:nvSpPr>
        <p:spPr bwMode="gray">
          <a:xfrm>
            <a:off x="247836" y="2089473"/>
            <a:ext cx="782382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116C7113-FB41-4DB7-B91D-1BC690E57203}" type="datetime'''''''''''''Gu''''''''''j''''ra''''''''n''wal''a'''''''''''">
              <a:rPr lang="en-US" sz="1200"/>
              <a:pPr marL="0" indent="0" eaLnBrk="1" hangingPunct="1"/>
              <a:t>Gujranwala</a:t>
            </a:fld>
            <a:endParaRPr lang="en-US" sz="1200"/>
          </a:p>
        </p:txBody>
      </p:sp>
      <p:sp>
        <p:nvSpPr>
          <p:cNvPr id="11301" name="Rectangle 18"/>
          <p:cNvSpPr>
            <a:spLocks noGrp="1" noChangeArrowheads="1"/>
          </p:cNvSpPr>
          <p:nvPr>
            <p:ph type="body" idx="4294967295"/>
            <p:custDataLst>
              <p:tags r:id="rId34"/>
            </p:custDataLst>
          </p:nvPr>
        </p:nvSpPr>
        <p:spPr bwMode="gray">
          <a:xfrm>
            <a:off x="247838" y="1938835"/>
            <a:ext cx="566944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6E7AA501-139A-4A66-83E7-DB30959D93B2}" type="datetime'N''''''''''a''r''''''''''o''w''a''l'''''''">
              <a:rPr lang="en-US" sz="1200"/>
              <a:pPr marL="0" indent="0" eaLnBrk="1" hangingPunct="1"/>
              <a:t>Narowal</a:t>
            </a:fld>
            <a:endParaRPr lang="en-US" sz="1200"/>
          </a:p>
        </p:txBody>
      </p:sp>
      <p:sp>
        <p:nvSpPr>
          <p:cNvPr id="11302" name="Rectangle 17"/>
          <p:cNvSpPr>
            <a:spLocks noGrp="1" noChangeArrowheads="1"/>
          </p:cNvSpPr>
          <p:nvPr>
            <p:ph type="body" idx="4294967295"/>
            <p:custDataLst>
              <p:tags r:id="rId35"/>
            </p:custDataLst>
          </p:nvPr>
        </p:nvSpPr>
        <p:spPr bwMode="gray">
          <a:xfrm>
            <a:off x="247838" y="1788200"/>
            <a:ext cx="422778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3B056ECD-A98C-42BC-8038-522AAE21F1AF}" type="datetime'G''''''u''''''''j''''''r''''a''t'''''''''''''''''''''">
              <a:rPr lang="en-US" sz="1200"/>
              <a:pPr marL="0" indent="0" eaLnBrk="1" hangingPunct="1"/>
              <a:t>Gujrat</a:t>
            </a:fld>
            <a:endParaRPr lang="en-US" sz="1200"/>
          </a:p>
        </p:txBody>
      </p:sp>
      <p:sp>
        <p:nvSpPr>
          <p:cNvPr id="11303" name="Rectangle 16"/>
          <p:cNvSpPr>
            <a:spLocks noGrp="1" noChangeArrowheads="1"/>
          </p:cNvSpPr>
          <p:nvPr>
            <p:ph type="body" idx="4294967295"/>
            <p:custDataLst>
              <p:tags r:id="rId36"/>
            </p:custDataLst>
          </p:nvPr>
        </p:nvSpPr>
        <p:spPr bwMode="gray">
          <a:xfrm>
            <a:off x="247836" y="1632705"/>
            <a:ext cx="464894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05A8FD99-87F1-4813-B446-BE23297609BB}" type="datetime'''''''S''''''''''''i''''a''''l''''''''''k''''''''o''''''t'''''">
              <a:rPr lang="en-US" sz="1200"/>
              <a:pPr marL="0" indent="0" eaLnBrk="1" hangingPunct="1"/>
              <a:t>Sialkot</a:t>
            </a:fld>
            <a:endParaRPr lang="en-US" sz="1200"/>
          </a:p>
        </p:txBody>
      </p:sp>
      <p:sp>
        <p:nvSpPr>
          <p:cNvPr id="11304" name="Rectangle 15"/>
          <p:cNvSpPr>
            <a:spLocks noGrp="1" noChangeArrowheads="1"/>
          </p:cNvSpPr>
          <p:nvPr>
            <p:ph type="body" idx="4294967295"/>
            <p:custDataLst>
              <p:tags r:id="rId37"/>
            </p:custDataLst>
          </p:nvPr>
        </p:nvSpPr>
        <p:spPr bwMode="gray">
          <a:xfrm>
            <a:off x="247836" y="1482067"/>
            <a:ext cx="754846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2C139B60-8E90-45D1-AEBF-462F3FFD906B}" type="datetime'''R''''a''wal''''''''''''pi''''''''''n''d''''''i'''">
              <a:rPr lang="en-US" sz="1200"/>
              <a:pPr marL="0" indent="0" eaLnBrk="1" hangingPunct="1"/>
              <a:t>Rawalpindi</a:t>
            </a:fld>
            <a:endParaRPr lang="en-US" sz="1200"/>
          </a:p>
        </p:txBody>
      </p:sp>
      <p:sp>
        <p:nvSpPr>
          <p:cNvPr id="11305" name="Rectangle 14"/>
          <p:cNvSpPr>
            <a:spLocks noGrp="1" noChangeArrowheads="1"/>
          </p:cNvSpPr>
          <p:nvPr>
            <p:ph type="body" idx="4294967295"/>
            <p:custDataLst>
              <p:tags r:id="rId38"/>
            </p:custDataLst>
          </p:nvPr>
        </p:nvSpPr>
        <p:spPr bwMode="gray">
          <a:xfrm>
            <a:off x="247836" y="1331432"/>
            <a:ext cx="432497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0DB7CAFA-8317-4321-BA1A-66088A477D2C}" type="datetime'''''''''''''''''A''''t''''''t''''''''''''''''o''''c''k'">
              <a:rPr lang="en-US" sz="1200"/>
              <a:pPr marL="0" indent="0" eaLnBrk="1" hangingPunct="1"/>
              <a:t>Attock</a:t>
            </a:fld>
            <a:endParaRPr lang="en-US" sz="1200"/>
          </a:p>
        </p:txBody>
      </p:sp>
      <p:sp>
        <p:nvSpPr>
          <p:cNvPr id="11306" name="Rectangle 13"/>
          <p:cNvSpPr>
            <a:spLocks noGrp="1" noChangeArrowheads="1"/>
          </p:cNvSpPr>
          <p:nvPr>
            <p:ph type="body" idx="4294967295"/>
            <p:custDataLst>
              <p:tags r:id="rId39"/>
            </p:custDataLst>
          </p:nvPr>
        </p:nvSpPr>
        <p:spPr bwMode="gray">
          <a:xfrm>
            <a:off x="247836" y="1180795"/>
            <a:ext cx="498911" cy="1862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A04A422D-83C9-4212-B882-3BAC17762547}" type="datetime'''''''J''''''eh''''''''''''''l''''um'">
              <a:rPr lang="en-US" sz="1200"/>
              <a:pPr marL="0" indent="0" eaLnBrk="1" hangingPunct="1"/>
              <a:t>Jehlum</a:t>
            </a:fld>
            <a:endParaRPr lang="en-US" sz="1200"/>
          </a:p>
        </p:txBody>
      </p:sp>
      <p:sp>
        <p:nvSpPr>
          <p:cNvPr id="11307" name="Rectangle 42"/>
          <p:cNvSpPr>
            <a:spLocks noGrp="1" noChangeArrowheads="1"/>
          </p:cNvSpPr>
          <p:nvPr>
            <p:ph type="body" idx="4294967295"/>
            <p:custDataLst>
              <p:tags r:id="rId40"/>
            </p:custDataLst>
          </p:nvPr>
        </p:nvSpPr>
        <p:spPr bwMode="gray">
          <a:xfrm>
            <a:off x="247836" y="1030159"/>
            <a:ext cx="592862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3015B223-32D1-49EE-BF3C-7946A599F59E}" type="datetime'C''''h''a''''''''kw''''''a''''l'''''''''''''''''''">
              <a:rPr lang="en-US" sz="1200"/>
              <a:pPr marL="0" indent="0" eaLnBrk="1" hangingPunct="1"/>
              <a:t>Chakwal</a:t>
            </a:fld>
            <a:endParaRPr lang="en-US" sz="1200"/>
          </a:p>
        </p:txBody>
      </p:sp>
      <p:sp>
        <p:nvSpPr>
          <p:cNvPr id="11308" name="Rectangle 38"/>
          <p:cNvSpPr>
            <a:spLocks noGrp="1" noChangeArrowheads="1"/>
          </p:cNvSpPr>
          <p:nvPr>
            <p:ph type="body" idx="4294967295"/>
            <p:custDataLst>
              <p:tags r:id="rId41"/>
            </p:custDataLst>
          </p:nvPr>
        </p:nvSpPr>
        <p:spPr bwMode="gray">
          <a:xfrm>
            <a:off x="247838" y="3450058"/>
            <a:ext cx="1057755" cy="18627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marL="0" indent="0" eaLnBrk="1" hangingPunct="1"/>
            <a:fld id="{A98BAFE8-6D8F-4B88-8EEB-6DC55CC0F2F8}" type="datetime'N''''''''a''''''''nka''n''a'''''' S''''ah''''''''''''''''i''b'">
              <a:rPr lang="en-US" sz="1200"/>
              <a:pPr marL="0" indent="0" eaLnBrk="1" hangingPunct="1"/>
              <a:t>Nankana Sahib</a:t>
            </a:fld>
            <a:endParaRPr lang="en-US" sz="1200"/>
          </a:p>
        </p:txBody>
      </p:sp>
      <p:sp>
        <p:nvSpPr>
          <p:cNvPr id="11309" name="Freeform 51" descr="Light downward diagonal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329523" y="3709867"/>
            <a:ext cx="596010" cy="588640"/>
          </a:xfrm>
          <a:custGeom>
            <a:avLst/>
            <a:gdLst>
              <a:gd name="T0" fmla="*/ 2147483647 w 330"/>
              <a:gd name="T1" fmla="*/ 2147483647 h 378"/>
              <a:gd name="T2" fmla="*/ 2147483647 w 330"/>
              <a:gd name="T3" fmla="*/ 2147483647 h 378"/>
              <a:gd name="T4" fmla="*/ 0 w 330"/>
              <a:gd name="T5" fmla="*/ 2147483647 h 378"/>
              <a:gd name="T6" fmla="*/ 2147483647 w 330"/>
              <a:gd name="T7" fmla="*/ 2147483647 h 378"/>
              <a:gd name="T8" fmla="*/ 2147483647 w 330"/>
              <a:gd name="T9" fmla="*/ 2147483647 h 378"/>
              <a:gd name="T10" fmla="*/ 2147483647 w 330"/>
              <a:gd name="T11" fmla="*/ 2147483647 h 378"/>
              <a:gd name="T12" fmla="*/ 2147483647 w 330"/>
              <a:gd name="T13" fmla="*/ 2147483647 h 378"/>
              <a:gd name="T14" fmla="*/ 2147483647 w 330"/>
              <a:gd name="T15" fmla="*/ 2147483647 h 378"/>
              <a:gd name="T16" fmla="*/ 2147483647 w 330"/>
              <a:gd name="T17" fmla="*/ 2147483647 h 378"/>
              <a:gd name="T18" fmla="*/ 2147483647 w 330"/>
              <a:gd name="T19" fmla="*/ 2147483647 h 378"/>
              <a:gd name="T20" fmla="*/ 2147483647 w 330"/>
              <a:gd name="T21" fmla="*/ 2147483647 h 378"/>
              <a:gd name="T22" fmla="*/ 2147483647 w 330"/>
              <a:gd name="T23" fmla="*/ 2147483647 h 378"/>
              <a:gd name="T24" fmla="*/ 2147483647 w 330"/>
              <a:gd name="T25" fmla="*/ 2147483647 h 378"/>
              <a:gd name="T26" fmla="*/ 2147483647 w 330"/>
              <a:gd name="T27" fmla="*/ 2147483647 h 378"/>
              <a:gd name="T28" fmla="*/ 2147483647 w 330"/>
              <a:gd name="T29" fmla="*/ 2147483647 h 378"/>
              <a:gd name="T30" fmla="*/ 2147483647 w 330"/>
              <a:gd name="T31" fmla="*/ 2147483647 h 378"/>
              <a:gd name="T32" fmla="*/ 2147483647 w 330"/>
              <a:gd name="T33" fmla="*/ 2147483647 h 378"/>
              <a:gd name="T34" fmla="*/ 2147483647 w 330"/>
              <a:gd name="T35" fmla="*/ 0 h 378"/>
              <a:gd name="T36" fmla="*/ 2147483647 w 330"/>
              <a:gd name="T37" fmla="*/ 2147483647 h 378"/>
              <a:gd name="T38" fmla="*/ 2147483647 w 330"/>
              <a:gd name="T39" fmla="*/ 2147483647 h 378"/>
              <a:gd name="T40" fmla="*/ 2147483647 w 330"/>
              <a:gd name="T41" fmla="*/ 2147483647 h 378"/>
              <a:gd name="T42" fmla="*/ 2147483647 w 330"/>
              <a:gd name="T43" fmla="*/ 2147483647 h 378"/>
              <a:gd name="T44" fmla="*/ 2147483647 w 330"/>
              <a:gd name="T45" fmla="*/ 2147483647 h 378"/>
              <a:gd name="T46" fmla="*/ 2147483647 w 330"/>
              <a:gd name="T47" fmla="*/ 2147483647 h 378"/>
              <a:gd name="T48" fmla="*/ 2147483647 w 330"/>
              <a:gd name="T49" fmla="*/ 2147483647 h 378"/>
              <a:gd name="T50" fmla="*/ 2147483647 w 330"/>
              <a:gd name="T51" fmla="*/ 2147483647 h 378"/>
              <a:gd name="T52" fmla="*/ 2147483647 w 330"/>
              <a:gd name="T53" fmla="*/ 2147483647 h 378"/>
              <a:gd name="T54" fmla="*/ 2147483647 w 330"/>
              <a:gd name="T55" fmla="*/ 2147483647 h 378"/>
              <a:gd name="T56" fmla="*/ 2147483647 w 330"/>
              <a:gd name="T57" fmla="*/ 2147483647 h 378"/>
              <a:gd name="T58" fmla="*/ 2147483647 w 330"/>
              <a:gd name="T59" fmla="*/ 2147483647 h 378"/>
              <a:gd name="T60" fmla="*/ 2147483647 w 330"/>
              <a:gd name="T61" fmla="*/ 2147483647 h 378"/>
              <a:gd name="T62" fmla="*/ 2147483647 w 330"/>
              <a:gd name="T63" fmla="*/ 2147483647 h 378"/>
              <a:gd name="T64" fmla="*/ 2147483647 w 330"/>
              <a:gd name="T65" fmla="*/ 2147483647 h 378"/>
              <a:gd name="T66" fmla="*/ 2147483647 w 330"/>
              <a:gd name="T67" fmla="*/ 2147483647 h 378"/>
              <a:gd name="T68" fmla="*/ 2147483647 w 330"/>
              <a:gd name="T69" fmla="*/ 2147483647 h 378"/>
              <a:gd name="T70" fmla="*/ 2147483647 w 330"/>
              <a:gd name="T71" fmla="*/ 2147483647 h 378"/>
              <a:gd name="T72" fmla="*/ 2147483647 w 330"/>
              <a:gd name="T73" fmla="*/ 2147483647 h 378"/>
              <a:gd name="T74" fmla="*/ 2147483647 w 330"/>
              <a:gd name="T75" fmla="*/ 2147483647 h 378"/>
              <a:gd name="T76" fmla="*/ 2147483647 w 330"/>
              <a:gd name="T77" fmla="*/ 2147483647 h 378"/>
              <a:gd name="T78" fmla="*/ 2147483647 w 330"/>
              <a:gd name="T79" fmla="*/ 2147483647 h 378"/>
              <a:gd name="T80" fmla="*/ 2147483647 w 330"/>
              <a:gd name="T81" fmla="*/ 2147483647 h 378"/>
              <a:gd name="T82" fmla="*/ 2147483647 w 330"/>
              <a:gd name="T83" fmla="*/ 2147483647 h 37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330" h="378">
                <a:moveTo>
                  <a:pt x="132" y="372"/>
                </a:moveTo>
                <a:lnTo>
                  <a:pt x="78" y="378"/>
                </a:lnTo>
                <a:lnTo>
                  <a:pt x="0" y="360"/>
                </a:lnTo>
                <a:lnTo>
                  <a:pt x="6" y="318"/>
                </a:lnTo>
                <a:lnTo>
                  <a:pt x="18" y="288"/>
                </a:lnTo>
                <a:lnTo>
                  <a:pt x="48" y="264"/>
                </a:lnTo>
                <a:lnTo>
                  <a:pt x="54" y="246"/>
                </a:lnTo>
                <a:lnTo>
                  <a:pt x="48" y="228"/>
                </a:lnTo>
                <a:lnTo>
                  <a:pt x="66" y="210"/>
                </a:lnTo>
                <a:lnTo>
                  <a:pt x="84" y="198"/>
                </a:lnTo>
                <a:lnTo>
                  <a:pt x="108" y="168"/>
                </a:lnTo>
                <a:lnTo>
                  <a:pt x="132" y="138"/>
                </a:lnTo>
                <a:lnTo>
                  <a:pt x="156" y="120"/>
                </a:lnTo>
                <a:lnTo>
                  <a:pt x="174" y="78"/>
                </a:lnTo>
                <a:lnTo>
                  <a:pt x="216" y="54"/>
                </a:lnTo>
                <a:lnTo>
                  <a:pt x="252" y="36"/>
                </a:lnTo>
                <a:lnTo>
                  <a:pt x="282" y="18"/>
                </a:lnTo>
                <a:lnTo>
                  <a:pt x="318" y="0"/>
                </a:lnTo>
                <a:lnTo>
                  <a:pt x="312" y="12"/>
                </a:lnTo>
                <a:lnTo>
                  <a:pt x="306" y="36"/>
                </a:lnTo>
                <a:lnTo>
                  <a:pt x="330" y="54"/>
                </a:lnTo>
                <a:lnTo>
                  <a:pt x="318" y="72"/>
                </a:lnTo>
                <a:lnTo>
                  <a:pt x="300" y="90"/>
                </a:lnTo>
                <a:lnTo>
                  <a:pt x="288" y="102"/>
                </a:lnTo>
                <a:lnTo>
                  <a:pt x="288" y="132"/>
                </a:lnTo>
                <a:lnTo>
                  <a:pt x="282" y="156"/>
                </a:lnTo>
                <a:lnTo>
                  <a:pt x="300" y="168"/>
                </a:lnTo>
                <a:lnTo>
                  <a:pt x="282" y="204"/>
                </a:lnTo>
                <a:lnTo>
                  <a:pt x="264" y="222"/>
                </a:lnTo>
                <a:lnTo>
                  <a:pt x="246" y="240"/>
                </a:lnTo>
                <a:lnTo>
                  <a:pt x="258" y="264"/>
                </a:lnTo>
                <a:lnTo>
                  <a:pt x="276" y="276"/>
                </a:lnTo>
                <a:lnTo>
                  <a:pt x="264" y="288"/>
                </a:lnTo>
                <a:lnTo>
                  <a:pt x="252" y="306"/>
                </a:lnTo>
                <a:lnTo>
                  <a:pt x="276" y="300"/>
                </a:lnTo>
                <a:lnTo>
                  <a:pt x="294" y="312"/>
                </a:lnTo>
                <a:lnTo>
                  <a:pt x="270" y="342"/>
                </a:lnTo>
                <a:lnTo>
                  <a:pt x="246" y="366"/>
                </a:lnTo>
                <a:lnTo>
                  <a:pt x="216" y="366"/>
                </a:lnTo>
                <a:lnTo>
                  <a:pt x="180" y="360"/>
                </a:lnTo>
                <a:lnTo>
                  <a:pt x="150" y="366"/>
                </a:lnTo>
                <a:lnTo>
                  <a:pt x="132" y="372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0" name="Freeform 52" descr="Light downward diagonal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773321" y="3410965"/>
            <a:ext cx="874760" cy="784853"/>
          </a:xfrm>
          <a:custGeom>
            <a:avLst/>
            <a:gdLst>
              <a:gd name="T0" fmla="*/ 2147483647 w 486"/>
              <a:gd name="T1" fmla="*/ 2147483647 h 504"/>
              <a:gd name="T2" fmla="*/ 2147483647 w 486"/>
              <a:gd name="T3" fmla="*/ 2147483647 h 504"/>
              <a:gd name="T4" fmla="*/ 2147483647 w 486"/>
              <a:gd name="T5" fmla="*/ 2147483647 h 504"/>
              <a:gd name="T6" fmla="*/ 2147483647 w 486"/>
              <a:gd name="T7" fmla="*/ 2147483647 h 504"/>
              <a:gd name="T8" fmla="*/ 2147483647 w 486"/>
              <a:gd name="T9" fmla="*/ 2147483647 h 504"/>
              <a:gd name="T10" fmla="*/ 2147483647 w 486"/>
              <a:gd name="T11" fmla="*/ 2147483647 h 504"/>
              <a:gd name="T12" fmla="*/ 0 w 486"/>
              <a:gd name="T13" fmla="*/ 2147483647 h 504"/>
              <a:gd name="T14" fmla="*/ 2147483647 w 486"/>
              <a:gd name="T15" fmla="*/ 2147483647 h 504"/>
              <a:gd name="T16" fmla="*/ 2147483647 w 486"/>
              <a:gd name="T17" fmla="*/ 2147483647 h 504"/>
              <a:gd name="T18" fmla="*/ 2147483647 w 486"/>
              <a:gd name="T19" fmla="*/ 2147483647 h 504"/>
              <a:gd name="T20" fmla="*/ 2147483647 w 486"/>
              <a:gd name="T21" fmla="*/ 2147483647 h 504"/>
              <a:gd name="T22" fmla="*/ 2147483647 w 486"/>
              <a:gd name="T23" fmla="*/ 2147483647 h 504"/>
              <a:gd name="T24" fmla="*/ 2147483647 w 486"/>
              <a:gd name="T25" fmla="*/ 2147483647 h 504"/>
              <a:gd name="T26" fmla="*/ 2147483647 w 486"/>
              <a:gd name="T27" fmla="*/ 2147483647 h 504"/>
              <a:gd name="T28" fmla="*/ 2147483647 w 486"/>
              <a:gd name="T29" fmla="*/ 2147483647 h 504"/>
              <a:gd name="T30" fmla="*/ 2147483647 w 486"/>
              <a:gd name="T31" fmla="*/ 2147483647 h 504"/>
              <a:gd name="T32" fmla="*/ 2147483647 w 486"/>
              <a:gd name="T33" fmla="*/ 2147483647 h 504"/>
              <a:gd name="T34" fmla="*/ 2147483647 w 486"/>
              <a:gd name="T35" fmla="*/ 2147483647 h 504"/>
              <a:gd name="T36" fmla="*/ 2147483647 w 486"/>
              <a:gd name="T37" fmla="*/ 2147483647 h 504"/>
              <a:gd name="T38" fmla="*/ 2147483647 w 486"/>
              <a:gd name="T39" fmla="*/ 2147483647 h 504"/>
              <a:gd name="T40" fmla="*/ 2147483647 w 486"/>
              <a:gd name="T41" fmla="*/ 2147483647 h 504"/>
              <a:gd name="T42" fmla="*/ 2147483647 w 486"/>
              <a:gd name="T43" fmla="*/ 2147483647 h 504"/>
              <a:gd name="T44" fmla="*/ 2147483647 w 486"/>
              <a:gd name="T45" fmla="*/ 2147483647 h 504"/>
              <a:gd name="T46" fmla="*/ 2147483647 w 486"/>
              <a:gd name="T47" fmla="*/ 2147483647 h 504"/>
              <a:gd name="T48" fmla="*/ 2147483647 w 486"/>
              <a:gd name="T49" fmla="*/ 2147483647 h 504"/>
              <a:gd name="T50" fmla="*/ 2147483647 w 486"/>
              <a:gd name="T51" fmla="*/ 0 h 504"/>
              <a:gd name="T52" fmla="*/ 2147483647 w 486"/>
              <a:gd name="T53" fmla="*/ 2147483647 h 504"/>
              <a:gd name="T54" fmla="*/ 2147483647 w 486"/>
              <a:gd name="T55" fmla="*/ 2147483647 h 504"/>
              <a:gd name="T56" fmla="*/ 2147483647 w 486"/>
              <a:gd name="T57" fmla="*/ 2147483647 h 504"/>
              <a:gd name="T58" fmla="*/ 2147483647 w 486"/>
              <a:gd name="T59" fmla="*/ 2147483647 h 504"/>
              <a:gd name="T60" fmla="*/ 2147483647 w 486"/>
              <a:gd name="T61" fmla="*/ 2147483647 h 504"/>
              <a:gd name="T62" fmla="*/ 2147483647 w 486"/>
              <a:gd name="T63" fmla="*/ 2147483647 h 504"/>
              <a:gd name="T64" fmla="*/ 2147483647 w 486"/>
              <a:gd name="T65" fmla="*/ 2147483647 h 504"/>
              <a:gd name="T66" fmla="*/ 2147483647 w 486"/>
              <a:gd name="T67" fmla="*/ 2147483647 h 504"/>
              <a:gd name="T68" fmla="*/ 2147483647 w 486"/>
              <a:gd name="T69" fmla="*/ 2147483647 h 504"/>
              <a:gd name="T70" fmla="*/ 2147483647 w 486"/>
              <a:gd name="T71" fmla="*/ 2147483647 h 504"/>
              <a:gd name="T72" fmla="*/ 2147483647 w 486"/>
              <a:gd name="T73" fmla="*/ 2147483647 h 504"/>
              <a:gd name="T74" fmla="*/ 2147483647 w 486"/>
              <a:gd name="T75" fmla="*/ 2147483647 h 504"/>
              <a:gd name="T76" fmla="*/ 2147483647 w 486"/>
              <a:gd name="T77" fmla="*/ 2147483647 h 504"/>
              <a:gd name="T78" fmla="*/ 2147483647 w 486"/>
              <a:gd name="T79" fmla="*/ 2147483647 h 504"/>
              <a:gd name="T80" fmla="*/ 2147483647 w 486"/>
              <a:gd name="T81" fmla="*/ 2147483647 h 504"/>
              <a:gd name="T82" fmla="*/ 2147483647 w 486"/>
              <a:gd name="T83" fmla="*/ 2147483647 h 504"/>
              <a:gd name="T84" fmla="*/ 2147483647 w 486"/>
              <a:gd name="T85" fmla="*/ 2147483647 h 504"/>
              <a:gd name="T86" fmla="*/ 2147483647 w 486"/>
              <a:gd name="T87" fmla="*/ 2147483647 h 504"/>
              <a:gd name="T88" fmla="*/ 2147483647 w 486"/>
              <a:gd name="T89" fmla="*/ 2147483647 h 504"/>
              <a:gd name="T90" fmla="*/ 2147483647 w 486"/>
              <a:gd name="T91" fmla="*/ 2147483647 h 504"/>
              <a:gd name="T92" fmla="*/ 2147483647 w 486"/>
              <a:gd name="T93" fmla="*/ 2147483647 h 504"/>
              <a:gd name="T94" fmla="*/ 2147483647 w 486"/>
              <a:gd name="T95" fmla="*/ 2147483647 h 504"/>
              <a:gd name="T96" fmla="*/ 2147483647 w 486"/>
              <a:gd name="T97" fmla="*/ 2147483647 h 5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86" h="504">
                <a:moveTo>
                  <a:pt x="48" y="504"/>
                </a:moveTo>
                <a:lnTo>
                  <a:pt x="30" y="492"/>
                </a:lnTo>
                <a:lnTo>
                  <a:pt x="6" y="498"/>
                </a:lnTo>
                <a:lnTo>
                  <a:pt x="18" y="480"/>
                </a:lnTo>
                <a:lnTo>
                  <a:pt x="30" y="468"/>
                </a:lnTo>
                <a:lnTo>
                  <a:pt x="12" y="456"/>
                </a:lnTo>
                <a:lnTo>
                  <a:pt x="0" y="432"/>
                </a:lnTo>
                <a:lnTo>
                  <a:pt x="18" y="414"/>
                </a:lnTo>
                <a:lnTo>
                  <a:pt x="36" y="396"/>
                </a:lnTo>
                <a:lnTo>
                  <a:pt x="54" y="360"/>
                </a:lnTo>
                <a:lnTo>
                  <a:pt x="36" y="348"/>
                </a:lnTo>
                <a:lnTo>
                  <a:pt x="42" y="324"/>
                </a:lnTo>
                <a:lnTo>
                  <a:pt x="42" y="294"/>
                </a:lnTo>
                <a:lnTo>
                  <a:pt x="54" y="282"/>
                </a:lnTo>
                <a:lnTo>
                  <a:pt x="72" y="264"/>
                </a:lnTo>
                <a:lnTo>
                  <a:pt x="84" y="246"/>
                </a:lnTo>
                <a:lnTo>
                  <a:pt x="60" y="228"/>
                </a:lnTo>
                <a:lnTo>
                  <a:pt x="66" y="204"/>
                </a:lnTo>
                <a:lnTo>
                  <a:pt x="72" y="192"/>
                </a:lnTo>
                <a:lnTo>
                  <a:pt x="90" y="162"/>
                </a:lnTo>
                <a:lnTo>
                  <a:pt x="120" y="120"/>
                </a:lnTo>
                <a:lnTo>
                  <a:pt x="156" y="102"/>
                </a:lnTo>
                <a:lnTo>
                  <a:pt x="192" y="90"/>
                </a:lnTo>
                <a:lnTo>
                  <a:pt x="216" y="60"/>
                </a:lnTo>
                <a:lnTo>
                  <a:pt x="240" y="30"/>
                </a:lnTo>
                <a:lnTo>
                  <a:pt x="276" y="0"/>
                </a:lnTo>
                <a:lnTo>
                  <a:pt x="300" y="12"/>
                </a:lnTo>
                <a:lnTo>
                  <a:pt x="342" y="66"/>
                </a:lnTo>
                <a:lnTo>
                  <a:pt x="366" y="72"/>
                </a:lnTo>
                <a:lnTo>
                  <a:pt x="384" y="126"/>
                </a:lnTo>
                <a:lnTo>
                  <a:pt x="384" y="156"/>
                </a:lnTo>
                <a:lnTo>
                  <a:pt x="402" y="180"/>
                </a:lnTo>
                <a:lnTo>
                  <a:pt x="444" y="168"/>
                </a:lnTo>
                <a:lnTo>
                  <a:pt x="480" y="162"/>
                </a:lnTo>
                <a:lnTo>
                  <a:pt x="486" y="198"/>
                </a:lnTo>
                <a:lnTo>
                  <a:pt x="462" y="240"/>
                </a:lnTo>
                <a:lnTo>
                  <a:pt x="384" y="294"/>
                </a:lnTo>
                <a:lnTo>
                  <a:pt x="354" y="294"/>
                </a:lnTo>
                <a:lnTo>
                  <a:pt x="336" y="318"/>
                </a:lnTo>
                <a:lnTo>
                  <a:pt x="318" y="330"/>
                </a:lnTo>
                <a:lnTo>
                  <a:pt x="312" y="348"/>
                </a:lnTo>
                <a:lnTo>
                  <a:pt x="288" y="384"/>
                </a:lnTo>
                <a:lnTo>
                  <a:pt x="258" y="408"/>
                </a:lnTo>
                <a:lnTo>
                  <a:pt x="210" y="432"/>
                </a:lnTo>
                <a:lnTo>
                  <a:pt x="186" y="456"/>
                </a:lnTo>
                <a:lnTo>
                  <a:pt x="144" y="480"/>
                </a:lnTo>
                <a:lnTo>
                  <a:pt x="102" y="492"/>
                </a:lnTo>
                <a:lnTo>
                  <a:pt x="72" y="498"/>
                </a:lnTo>
                <a:lnTo>
                  <a:pt x="48" y="504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1" name="Freeform 53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809775" y="4839469"/>
            <a:ext cx="1265376" cy="1076423"/>
          </a:xfrm>
          <a:custGeom>
            <a:avLst/>
            <a:gdLst>
              <a:gd name="T0" fmla="*/ 0 w 702"/>
              <a:gd name="T1" fmla="*/ 2147483647 h 690"/>
              <a:gd name="T2" fmla="*/ 2147483647 w 702"/>
              <a:gd name="T3" fmla="*/ 2147483647 h 690"/>
              <a:gd name="T4" fmla="*/ 2147483647 w 702"/>
              <a:gd name="T5" fmla="*/ 2147483647 h 690"/>
              <a:gd name="T6" fmla="*/ 2147483647 w 702"/>
              <a:gd name="T7" fmla="*/ 2147483647 h 690"/>
              <a:gd name="T8" fmla="*/ 2147483647 w 702"/>
              <a:gd name="T9" fmla="*/ 2147483647 h 690"/>
              <a:gd name="T10" fmla="*/ 2147483647 w 702"/>
              <a:gd name="T11" fmla="*/ 2147483647 h 690"/>
              <a:gd name="T12" fmla="*/ 2147483647 w 702"/>
              <a:gd name="T13" fmla="*/ 2147483647 h 690"/>
              <a:gd name="T14" fmla="*/ 2147483647 w 702"/>
              <a:gd name="T15" fmla="*/ 2147483647 h 690"/>
              <a:gd name="T16" fmla="*/ 2147483647 w 702"/>
              <a:gd name="T17" fmla="*/ 2147483647 h 690"/>
              <a:gd name="T18" fmla="*/ 2147483647 w 702"/>
              <a:gd name="T19" fmla="*/ 2147483647 h 690"/>
              <a:gd name="T20" fmla="*/ 2147483647 w 702"/>
              <a:gd name="T21" fmla="*/ 0 h 690"/>
              <a:gd name="T22" fmla="*/ 2147483647 w 702"/>
              <a:gd name="T23" fmla="*/ 2147483647 h 690"/>
              <a:gd name="T24" fmla="*/ 2147483647 w 702"/>
              <a:gd name="T25" fmla="*/ 2147483647 h 690"/>
              <a:gd name="T26" fmla="*/ 2147483647 w 702"/>
              <a:gd name="T27" fmla="*/ 2147483647 h 690"/>
              <a:gd name="T28" fmla="*/ 2147483647 w 702"/>
              <a:gd name="T29" fmla="*/ 2147483647 h 690"/>
              <a:gd name="T30" fmla="*/ 2147483647 w 702"/>
              <a:gd name="T31" fmla="*/ 2147483647 h 690"/>
              <a:gd name="T32" fmla="*/ 2147483647 w 702"/>
              <a:gd name="T33" fmla="*/ 2147483647 h 690"/>
              <a:gd name="T34" fmla="*/ 2147483647 w 702"/>
              <a:gd name="T35" fmla="*/ 2147483647 h 690"/>
              <a:gd name="T36" fmla="*/ 2147483647 w 702"/>
              <a:gd name="T37" fmla="*/ 2147483647 h 690"/>
              <a:gd name="T38" fmla="*/ 2147483647 w 702"/>
              <a:gd name="T39" fmla="*/ 2147483647 h 690"/>
              <a:gd name="T40" fmla="*/ 2147483647 w 702"/>
              <a:gd name="T41" fmla="*/ 2147483647 h 690"/>
              <a:gd name="T42" fmla="*/ 2147483647 w 702"/>
              <a:gd name="T43" fmla="*/ 2147483647 h 690"/>
              <a:gd name="T44" fmla="*/ 2147483647 w 702"/>
              <a:gd name="T45" fmla="*/ 2147483647 h 690"/>
              <a:gd name="T46" fmla="*/ 2147483647 w 702"/>
              <a:gd name="T47" fmla="*/ 2147483647 h 690"/>
              <a:gd name="T48" fmla="*/ 2147483647 w 702"/>
              <a:gd name="T49" fmla="*/ 2147483647 h 690"/>
              <a:gd name="T50" fmla="*/ 2147483647 w 702"/>
              <a:gd name="T51" fmla="*/ 2147483647 h 690"/>
              <a:gd name="T52" fmla="*/ 2147483647 w 702"/>
              <a:gd name="T53" fmla="*/ 2147483647 h 690"/>
              <a:gd name="T54" fmla="*/ 2147483647 w 702"/>
              <a:gd name="T55" fmla="*/ 2147483647 h 690"/>
              <a:gd name="T56" fmla="*/ 2147483647 w 702"/>
              <a:gd name="T57" fmla="*/ 2147483647 h 690"/>
              <a:gd name="T58" fmla="*/ 2147483647 w 702"/>
              <a:gd name="T59" fmla="*/ 2147483647 h 690"/>
              <a:gd name="T60" fmla="*/ 2147483647 w 702"/>
              <a:gd name="T61" fmla="*/ 2147483647 h 690"/>
              <a:gd name="T62" fmla="*/ 2147483647 w 702"/>
              <a:gd name="T63" fmla="*/ 2147483647 h 690"/>
              <a:gd name="T64" fmla="*/ 2147483647 w 702"/>
              <a:gd name="T65" fmla="*/ 2147483647 h 690"/>
              <a:gd name="T66" fmla="*/ 2147483647 w 702"/>
              <a:gd name="T67" fmla="*/ 2147483647 h 69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702" h="690">
                <a:moveTo>
                  <a:pt x="12" y="672"/>
                </a:moveTo>
                <a:lnTo>
                  <a:pt x="0" y="654"/>
                </a:lnTo>
                <a:lnTo>
                  <a:pt x="6" y="624"/>
                </a:lnTo>
                <a:lnTo>
                  <a:pt x="30" y="606"/>
                </a:lnTo>
                <a:lnTo>
                  <a:pt x="48" y="594"/>
                </a:lnTo>
                <a:lnTo>
                  <a:pt x="90" y="498"/>
                </a:lnTo>
                <a:lnTo>
                  <a:pt x="84" y="462"/>
                </a:lnTo>
                <a:lnTo>
                  <a:pt x="198" y="378"/>
                </a:lnTo>
                <a:lnTo>
                  <a:pt x="234" y="348"/>
                </a:lnTo>
                <a:lnTo>
                  <a:pt x="240" y="312"/>
                </a:lnTo>
                <a:lnTo>
                  <a:pt x="216" y="330"/>
                </a:lnTo>
                <a:lnTo>
                  <a:pt x="186" y="324"/>
                </a:lnTo>
                <a:lnTo>
                  <a:pt x="186" y="270"/>
                </a:lnTo>
                <a:lnTo>
                  <a:pt x="156" y="264"/>
                </a:lnTo>
                <a:lnTo>
                  <a:pt x="162" y="234"/>
                </a:lnTo>
                <a:lnTo>
                  <a:pt x="174" y="144"/>
                </a:lnTo>
                <a:lnTo>
                  <a:pt x="186" y="132"/>
                </a:lnTo>
                <a:lnTo>
                  <a:pt x="228" y="114"/>
                </a:lnTo>
                <a:lnTo>
                  <a:pt x="264" y="96"/>
                </a:lnTo>
                <a:lnTo>
                  <a:pt x="294" y="66"/>
                </a:lnTo>
                <a:lnTo>
                  <a:pt x="306" y="18"/>
                </a:lnTo>
                <a:lnTo>
                  <a:pt x="366" y="0"/>
                </a:lnTo>
                <a:lnTo>
                  <a:pt x="450" y="6"/>
                </a:lnTo>
                <a:lnTo>
                  <a:pt x="468" y="6"/>
                </a:lnTo>
                <a:lnTo>
                  <a:pt x="468" y="24"/>
                </a:lnTo>
                <a:lnTo>
                  <a:pt x="492" y="24"/>
                </a:lnTo>
                <a:lnTo>
                  <a:pt x="522" y="18"/>
                </a:lnTo>
                <a:lnTo>
                  <a:pt x="540" y="36"/>
                </a:lnTo>
                <a:lnTo>
                  <a:pt x="546" y="66"/>
                </a:lnTo>
                <a:lnTo>
                  <a:pt x="552" y="108"/>
                </a:lnTo>
                <a:lnTo>
                  <a:pt x="624" y="66"/>
                </a:lnTo>
                <a:lnTo>
                  <a:pt x="636" y="18"/>
                </a:lnTo>
                <a:lnTo>
                  <a:pt x="678" y="18"/>
                </a:lnTo>
                <a:lnTo>
                  <a:pt x="690" y="30"/>
                </a:lnTo>
                <a:lnTo>
                  <a:pt x="672" y="48"/>
                </a:lnTo>
                <a:lnTo>
                  <a:pt x="702" y="72"/>
                </a:lnTo>
                <a:lnTo>
                  <a:pt x="702" y="96"/>
                </a:lnTo>
                <a:lnTo>
                  <a:pt x="690" y="114"/>
                </a:lnTo>
                <a:lnTo>
                  <a:pt x="678" y="144"/>
                </a:lnTo>
                <a:lnTo>
                  <a:pt x="684" y="174"/>
                </a:lnTo>
                <a:lnTo>
                  <a:pt x="666" y="186"/>
                </a:lnTo>
                <a:lnTo>
                  <a:pt x="648" y="186"/>
                </a:lnTo>
                <a:lnTo>
                  <a:pt x="630" y="222"/>
                </a:lnTo>
                <a:lnTo>
                  <a:pt x="624" y="252"/>
                </a:lnTo>
                <a:lnTo>
                  <a:pt x="618" y="288"/>
                </a:lnTo>
                <a:lnTo>
                  <a:pt x="600" y="312"/>
                </a:lnTo>
                <a:lnTo>
                  <a:pt x="594" y="336"/>
                </a:lnTo>
                <a:lnTo>
                  <a:pt x="582" y="366"/>
                </a:lnTo>
                <a:lnTo>
                  <a:pt x="588" y="396"/>
                </a:lnTo>
                <a:lnTo>
                  <a:pt x="564" y="426"/>
                </a:lnTo>
                <a:lnTo>
                  <a:pt x="534" y="444"/>
                </a:lnTo>
                <a:lnTo>
                  <a:pt x="516" y="468"/>
                </a:lnTo>
                <a:lnTo>
                  <a:pt x="498" y="492"/>
                </a:lnTo>
                <a:lnTo>
                  <a:pt x="462" y="492"/>
                </a:lnTo>
                <a:lnTo>
                  <a:pt x="444" y="510"/>
                </a:lnTo>
                <a:lnTo>
                  <a:pt x="420" y="540"/>
                </a:lnTo>
                <a:lnTo>
                  <a:pt x="372" y="546"/>
                </a:lnTo>
                <a:lnTo>
                  <a:pt x="348" y="558"/>
                </a:lnTo>
                <a:lnTo>
                  <a:pt x="366" y="564"/>
                </a:lnTo>
                <a:lnTo>
                  <a:pt x="372" y="582"/>
                </a:lnTo>
                <a:lnTo>
                  <a:pt x="312" y="618"/>
                </a:lnTo>
                <a:lnTo>
                  <a:pt x="258" y="630"/>
                </a:lnTo>
                <a:lnTo>
                  <a:pt x="222" y="666"/>
                </a:lnTo>
                <a:lnTo>
                  <a:pt x="198" y="690"/>
                </a:lnTo>
                <a:lnTo>
                  <a:pt x="144" y="648"/>
                </a:lnTo>
                <a:lnTo>
                  <a:pt x="108" y="642"/>
                </a:lnTo>
                <a:lnTo>
                  <a:pt x="72" y="648"/>
                </a:lnTo>
                <a:lnTo>
                  <a:pt x="12" y="672"/>
                </a:lnTo>
                <a:close/>
              </a:path>
            </a:pathLst>
          </a:custGeom>
          <a:solidFill>
            <a:srgbClr val="FF000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2" name="Freeform 54" descr="Light downward diagonal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525750" y="4045447"/>
            <a:ext cx="768394" cy="682162"/>
          </a:xfrm>
          <a:custGeom>
            <a:avLst/>
            <a:gdLst>
              <a:gd name="T0" fmla="*/ 2147483647 w 426"/>
              <a:gd name="T1" fmla="*/ 2147483647 h 438"/>
              <a:gd name="T2" fmla="*/ 2147483647 w 426"/>
              <a:gd name="T3" fmla="*/ 2147483647 h 438"/>
              <a:gd name="T4" fmla="*/ 2147483647 w 426"/>
              <a:gd name="T5" fmla="*/ 2147483647 h 438"/>
              <a:gd name="T6" fmla="*/ 2147483647 w 426"/>
              <a:gd name="T7" fmla="*/ 2147483647 h 438"/>
              <a:gd name="T8" fmla="*/ 2147483647 w 426"/>
              <a:gd name="T9" fmla="*/ 2147483647 h 438"/>
              <a:gd name="T10" fmla="*/ 2147483647 w 426"/>
              <a:gd name="T11" fmla="*/ 2147483647 h 438"/>
              <a:gd name="T12" fmla="*/ 2147483647 w 426"/>
              <a:gd name="T13" fmla="*/ 2147483647 h 438"/>
              <a:gd name="T14" fmla="*/ 2147483647 w 426"/>
              <a:gd name="T15" fmla="*/ 2147483647 h 438"/>
              <a:gd name="T16" fmla="*/ 2147483647 w 426"/>
              <a:gd name="T17" fmla="*/ 2147483647 h 438"/>
              <a:gd name="T18" fmla="*/ 2147483647 w 426"/>
              <a:gd name="T19" fmla="*/ 2147483647 h 438"/>
              <a:gd name="T20" fmla="*/ 2147483647 w 426"/>
              <a:gd name="T21" fmla="*/ 2147483647 h 438"/>
              <a:gd name="T22" fmla="*/ 2147483647 w 426"/>
              <a:gd name="T23" fmla="*/ 2147483647 h 438"/>
              <a:gd name="T24" fmla="*/ 2147483647 w 426"/>
              <a:gd name="T25" fmla="*/ 2147483647 h 438"/>
              <a:gd name="T26" fmla="*/ 0 w 426"/>
              <a:gd name="T27" fmla="*/ 2147483647 h 438"/>
              <a:gd name="T28" fmla="*/ 0 w 426"/>
              <a:gd name="T29" fmla="*/ 2147483647 h 438"/>
              <a:gd name="T30" fmla="*/ 2147483647 w 426"/>
              <a:gd name="T31" fmla="*/ 2147483647 h 438"/>
              <a:gd name="T32" fmla="*/ 2147483647 w 426"/>
              <a:gd name="T33" fmla="*/ 2147483647 h 438"/>
              <a:gd name="T34" fmla="*/ 2147483647 w 426"/>
              <a:gd name="T35" fmla="*/ 2147483647 h 438"/>
              <a:gd name="T36" fmla="*/ 2147483647 w 426"/>
              <a:gd name="T37" fmla="*/ 2147483647 h 438"/>
              <a:gd name="T38" fmla="*/ 2147483647 w 426"/>
              <a:gd name="T39" fmla="*/ 2147483647 h 438"/>
              <a:gd name="T40" fmla="*/ 2147483647 w 426"/>
              <a:gd name="T41" fmla="*/ 2147483647 h 438"/>
              <a:gd name="T42" fmla="*/ 2147483647 w 426"/>
              <a:gd name="T43" fmla="*/ 2147483647 h 438"/>
              <a:gd name="T44" fmla="*/ 2147483647 w 426"/>
              <a:gd name="T45" fmla="*/ 2147483647 h 438"/>
              <a:gd name="T46" fmla="*/ 2147483647 w 426"/>
              <a:gd name="T47" fmla="*/ 2147483647 h 438"/>
              <a:gd name="T48" fmla="*/ 2147483647 w 426"/>
              <a:gd name="T49" fmla="*/ 2147483647 h 438"/>
              <a:gd name="T50" fmla="*/ 2147483647 w 426"/>
              <a:gd name="T51" fmla="*/ 2147483647 h 438"/>
              <a:gd name="T52" fmla="*/ 2147483647 w 426"/>
              <a:gd name="T53" fmla="*/ 2147483647 h 438"/>
              <a:gd name="T54" fmla="*/ 2147483647 w 426"/>
              <a:gd name="T55" fmla="*/ 2147483647 h 438"/>
              <a:gd name="T56" fmla="*/ 2147483647 w 426"/>
              <a:gd name="T57" fmla="*/ 0 h 438"/>
              <a:gd name="T58" fmla="*/ 2147483647 w 426"/>
              <a:gd name="T59" fmla="*/ 2147483647 h 438"/>
              <a:gd name="T60" fmla="*/ 2147483647 w 426"/>
              <a:gd name="T61" fmla="*/ 2147483647 h 438"/>
              <a:gd name="T62" fmla="*/ 2147483647 w 426"/>
              <a:gd name="T63" fmla="*/ 2147483647 h 438"/>
              <a:gd name="T64" fmla="*/ 2147483647 w 426"/>
              <a:gd name="T65" fmla="*/ 2147483647 h 438"/>
              <a:gd name="T66" fmla="*/ 2147483647 w 426"/>
              <a:gd name="T67" fmla="*/ 2147483647 h 438"/>
              <a:gd name="T68" fmla="*/ 2147483647 w 426"/>
              <a:gd name="T69" fmla="*/ 2147483647 h 438"/>
              <a:gd name="T70" fmla="*/ 2147483647 w 426"/>
              <a:gd name="T71" fmla="*/ 2147483647 h 438"/>
              <a:gd name="T72" fmla="*/ 2147483647 w 426"/>
              <a:gd name="T73" fmla="*/ 2147483647 h 438"/>
              <a:gd name="T74" fmla="*/ 2147483647 w 426"/>
              <a:gd name="T75" fmla="*/ 2147483647 h 438"/>
              <a:gd name="T76" fmla="*/ 2147483647 w 426"/>
              <a:gd name="T77" fmla="*/ 2147483647 h 438"/>
              <a:gd name="T78" fmla="*/ 2147483647 w 426"/>
              <a:gd name="T79" fmla="*/ 2147483647 h 438"/>
              <a:gd name="T80" fmla="*/ 2147483647 w 426"/>
              <a:gd name="T81" fmla="*/ 2147483647 h 438"/>
              <a:gd name="T82" fmla="*/ 2147483647 w 426"/>
              <a:gd name="T83" fmla="*/ 2147483647 h 438"/>
              <a:gd name="T84" fmla="*/ 2147483647 w 426"/>
              <a:gd name="T85" fmla="*/ 2147483647 h 438"/>
              <a:gd name="T86" fmla="*/ 2147483647 w 426"/>
              <a:gd name="T87" fmla="*/ 2147483647 h 438"/>
              <a:gd name="T88" fmla="*/ 2147483647 w 426"/>
              <a:gd name="T89" fmla="*/ 2147483647 h 438"/>
              <a:gd name="T90" fmla="*/ 2147483647 w 426"/>
              <a:gd name="T91" fmla="*/ 2147483647 h 438"/>
              <a:gd name="T92" fmla="*/ 2147483647 w 426"/>
              <a:gd name="T93" fmla="*/ 2147483647 h 438"/>
              <a:gd name="T94" fmla="*/ 2147483647 w 426"/>
              <a:gd name="T95" fmla="*/ 2147483647 h 438"/>
              <a:gd name="T96" fmla="*/ 2147483647 w 426"/>
              <a:gd name="T97" fmla="*/ 2147483647 h 438"/>
              <a:gd name="T98" fmla="*/ 2147483647 w 426"/>
              <a:gd name="T99" fmla="*/ 2147483647 h 438"/>
              <a:gd name="T100" fmla="*/ 2147483647 w 426"/>
              <a:gd name="T101" fmla="*/ 2147483647 h 438"/>
              <a:gd name="T102" fmla="*/ 2147483647 w 426"/>
              <a:gd name="T103" fmla="*/ 2147483647 h 438"/>
              <a:gd name="T104" fmla="*/ 2147483647 w 426"/>
              <a:gd name="T105" fmla="*/ 2147483647 h 438"/>
              <a:gd name="T106" fmla="*/ 2147483647 w 426"/>
              <a:gd name="T107" fmla="*/ 2147483647 h 438"/>
              <a:gd name="T108" fmla="*/ 2147483647 w 426"/>
              <a:gd name="T109" fmla="*/ 2147483647 h 438"/>
              <a:gd name="T110" fmla="*/ 2147483647 w 426"/>
              <a:gd name="T111" fmla="*/ 2147483647 h 43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26" h="438">
                <a:moveTo>
                  <a:pt x="186" y="432"/>
                </a:moveTo>
                <a:lnTo>
                  <a:pt x="174" y="372"/>
                </a:lnTo>
                <a:lnTo>
                  <a:pt x="180" y="312"/>
                </a:lnTo>
                <a:lnTo>
                  <a:pt x="192" y="264"/>
                </a:lnTo>
                <a:lnTo>
                  <a:pt x="156" y="276"/>
                </a:lnTo>
                <a:lnTo>
                  <a:pt x="138" y="282"/>
                </a:lnTo>
                <a:lnTo>
                  <a:pt x="126" y="294"/>
                </a:lnTo>
                <a:lnTo>
                  <a:pt x="108" y="288"/>
                </a:lnTo>
                <a:lnTo>
                  <a:pt x="102" y="294"/>
                </a:lnTo>
                <a:lnTo>
                  <a:pt x="84" y="306"/>
                </a:lnTo>
                <a:lnTo>
                  <a:pt x="60" y="294"/>
                </a:lnTo>
                <a:lnTo>
                  <a:pt x="42" y="312"/>
                </a:lnTo>
                <a:lnTo>
                  <a:pt x="36" y="342"/>
                </a:lnTo>
                <a:lnTo>
                  <a:pt x="0" y="324"/>
                </a:lnTo>
                <a:lnTo>
                  <a:pt x="0" y="300"/>
                </a:lnTo>
                <a:lnTo>
                  <a:pt x="24" y="192"/>
                </a:lnTo>
                <a:lnTo>
                  <a:pt x="24" y="156"/>
                </a:lnTo>
                <a:lnTo>
                  <a:pt x="42" y="150"/>
                </a:lnTo>
                <a:lnTo>
                  <a:pt x="72" y="144"/>
                </a:lnTo>
                <a:lnTo>
                  <a:pt x="108" y="150"/>
                </a:lnTo>
                <a:lnTo>
                  <a:pt x="138" y="150"/>
                </a:lnTo>
                <a:lnTo>
                  <a:pt x="162" y="126"/>
                </a:lnTo>
                <a:lnTo>
                  <a:pt x="186" y="96"/>
                </a:lnTo>
                <a:lnTo>
                  <a:pt x="210" y="90"/>
                </a:lnTo>
                <a:lnTo>
                  <a:pt x="240" y="84"/>
                </a:lnTo>
                <a:lnTo>
                  <a:pt x="282" y="72"/>
                </a:lnTo>
                <a:lnTo>
                  <a:pt x="324" y="48"/>
                </a:lnTo>
                <a:lnTo>
                  <a:pt x="348" y="24"/>
                </a:lnTo>
                <a:lnTo>
                  <a:pt x="396" y="0"/>
                </a:lnTo>
                <a:lnTo>
                  <a:pt x="396" y="18"/>
                </a:lnTo>
                <a:lnTo>
                  <a:pt x="408" y="30"/>
                </a:lnTo>
                <a:lnTo>
                  <a:pt x="396" y="54"/>
                </a:lnTo>
                <a:lnTo>
                  <a:pt x="402" y="72"/>
                </a:lnTo>
                <a:lnTo>
                  <a:pt x="426" y="66"/>
                </a:lnTo>
                <a:lnTo>
                  <a:pt x="420" y="108"/>
                </a:lnTo>
                <a:lnTo>
                  <a:pt x="426" y="132"/>
                </a:lnTo>
                <a:lnTo>
                  <a:pt x="414" y="162"/>
                </a:lnTo>
                <a:lnTo>
                  <a:pt x="402" y="168"/>
                </a:lnTo>
                <a:lnTo>
                  <a:pt x="396" y="186"/>
                </a:lnTo>
                <a:lnTo>
                  <a:pt x="360" y="198"/>
                </a:lnTo>
                <a:lnTo>
                  <a:pt x="324" y="228"/>
                </a:lnTo>
                <a:lnTo>
                  <a:pt x="306" y="258"/>
                </a:lnTo>
                <a:lnTo>
                  <a:pt x="336" y="264"/>
                </a:lnTo>
                <a:lnTo>
                  <a:pt x="360" y="276"/>
                </a:lnTo>
                <a:lnTo>
                  <a:pt x="354" y="294"/>
                </a:lnTo>
                <a:lnTo>
                  <a:pt x="324" y="360"/>
                </a:lnTo>
                <a:lnTo>
                  <a:pt x="330" y="384"/>
                </a:lnTo>
                <a:lnTo>
                  <a:pt x="348" y="390"/>
                </a:lnTo>
                <a:lnTo>
                  <a:pt x="330" y="402"/>
                </a:lnTo>
                <a:lnTo>
                  <a:pt x="306" y="402"/>
                </a:lnTo>
                <a:lnTo>
                  <a:pt x="300" y="414"/>
                </a:lnTo>
                <a:lnTo>
                  <a:pt x="276" y="402"/>
                </a:lnTo>
                <a:lnTo>
                  <a:pt x="258" y="408"/>
                </a:lnTo>
                <a:lnTo>
                  <a:pt x="252" y="432"/>
                </a:lnTo>
                <a:lnTo>
                  <a:pt x="228" y="438"/>
                </a:lnTo>
                <a:lnTo>
                  <a:pt x="186" y="432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3" name="Freeform 55" descr="Light downward diagonal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316150" y="3251425"/>
            <a:ext cx="1177349" cy="702334"/>
          </a:xfrm>
          <a:custGeom>
            <a:avLst/>
            <a:gdLst>
              <a:gd name="T0" fmla="*/ 0 w 654"/>
              <a:gd name="T1" fmla="*/ 2147483647 h 450"/>
              <a:gd name="T2" fmla="*/ 2147483647 w 654"/>
              <a:gd name="T3" fmla="*/ 2147483647 h 450"/>
              <a:gd name="T4" fmla="*/ 2147483647 w 654"/>
              <a:gd name="T5" fmla="*/ 2147483647 h 450"/>
              <a:gd name="T6" fmla="*/ 2147483647 w 654"/>
              <a:gd name="T7" fmla="*/ 2147483647 h 450"/>
              <a:gd name="T8" fmla="*/ 2147483647 w 654"/>
              <a:gd name="T9" fmla="*/ 2147483647 h 450"/>
              <a:gd name="T10" fmla="*/ 2147483647 w 654"/>
              <a:gd name="T11" fmla="*/ 2147483647 h 450"/>
              <a:gd name="T12" fmla="*/ 2147483647 w 654"/>
              <a:gd name="T13" fmla="*/ 2147483647 h 450"/>
              <a:gd name="T14" fmla="*/ 2147483647 w 654"/>
              <a:gd name="T15" fmla="*/ 2147483647 h 450"/>
              <a:gd name="T16" fmla="*/ 2147483647 w 654"/>
              <a:gd name="T17" fmla="*/ 2147483647 h 450"/>
              <a:gd name="T18" fmla="*/ 2147483647 w 654"/>
              <a:gd name="T19" fmla="*/ 2147483647 h 450"/>
              <a:gd name="T20" fmla="*/ 2147483647 w 654"/>
              <a:gd name="T21" fmla="*/ 2147483647 h 450"/>
              <a:gd name="T22" fmla="*/ 2147483647 w 654"/>
              <a:gd name="T23" fmla="*/ 2147483647 h 450"/>
              <a:gd name="T24" fmla="*/ 2147483647 w 654"/>
              <a:gd name="T25" fmla="*/ 2147483647 h 450"/>
              <a:gd name="T26" fmla="*/ 2147483647 w 654"/>
              <a:gd name="T27" fmla="*/ 2147483647 h 450"/>
              <a:gd name="T28" fmla="*/ 2147483647 w 654"/>
              <a:gd name="T29" fmla="*/ 2147483647 h 450"/>
              <a:gd name="T30" fmla="*/ 2147483647 w 654"/>
              <a:gd name="T31" fmla="*/ 2147483647 h 450"/>
              <a:gd name="T32" fmla="*/ 2147483647 w 654"/>
              <a:gd name="T33" fmla="*/ 2147483647 h 450"/>
              <a:gd name="T34" fmla="*/ 2147483647 w 654"/>
              <a:gd name="T35" fmla="*/ 2147483647 h 450"/>
              <a:gd name="T36" fmla="*/ 2147483647 w 654"/>
              <a:gd name="T37" fmla="*/ 2147483647 h 450"/>
              <a:gd name="T38" fmla="*/ 2147483647 w 654"/>
              <a:gd name="T39" fmla="*/ 2147483647 h 450"/>
              <a:gd name="T40" fmla="*/ 2147483647 w 654"/>
              <a:gd name="T41" fmla="*/ 2147483647 h 450"/>
              <a:gd name="T42" fmla="*/ 2147483647 w 654"/>
              <a:gd name="T43" fmla="*/ 2147483647 h 450"/>
              <a:gd name="T44" fmla="*/ 2147483647 w 654"/>
              <a:gd name="T45" fmla="*/ 2147483647 h 450"/>
              <a:gd name="T46" fmla="*/ 2147483647 w 654"/>
              <a:gd name="T47" fmla="*/ 0 h 450"/>
              <a:gd name="T48" fmla="*/ 2147483647 w 654"/>
              <a:gd name="T49" fmla="*/ 2147483647 h 450"/>
              <a:gd name="T50" fmla="*/ 2147483647 w 654"/>
              <a:gd name="T51" fmla="*/ 2147483647 h 450"/>
              <a:gd name="T52" fmla="*/ 2147483647 w 654"/>
              <a:gd name="T53" fmla="*/ 2147483647 h 450"/>
              <a:gd name="T54" fmla="*/ 2147483647 w 654"/>
              <a:gd name="T55" fmla="*/ 2147483647 h 450"/>
              <a:gd name="T56" fmla="*/ 2147483647 w 654"/>
              <a:gd name="T57" fmla="*/ 2147483647 h 450"/>
              <a:gd name="T58" fmla="*/ 2147483647 w 654"/>
              <a:gd name="T59" fmla="*/ 2147483647 h 450"/>
              <a:gd name="T60" fmla="*/ 2147483647 w 654"/>
              <a:gd name="T61" fmla="*/ 2147483647 h 450"/>
              <a:gd name="T62" fmla="*/ 2147483647 w 654"/>
              <a:gd name="T63" fmla="*/ 2147483647 h 450"/>
              <a:gd name="T64" fmla="*/ 2147483647 w 654"/>
              <a:gd name="T65" fmla="*/ 2147483647 h 450"/>
              <a:gd name="T66" fmla="*/ 2147483647 w 654"/>
              <a:gd name="T67" fmla="*/ 2147483647 h 450"/>
              <a:gd name="T68" fmla="*/ 2147483647 w 654"/>
              <a:gd name="T69" fmla="*/ 2147483647 h 450"/>
              <a:gd name="T70" fmla="*/ 2147483647 w 654"/>
              <a:gd name="T71" fmla="*/ 2147483647 h 450"/>
              <a:gd name="T72" fmla="*/ 2147483647 w 654"/>
              <a:gd name="T73" fmla="*/ 2147483647 h 450"/>
              <a:gd name="T74" fmla="*/ 2147483647 w 654"/>
              <a:gd name="T75" fmla="*/ 2147483647 h 450"/>
              <a:gd name="T76" fmla="*/ 2147483647 w 654"/>
              <a:gd name="T77" fmla="*/ 2147483647 h 450"/>
              <a:gd name="T78" fmla="*/ 2147483647 w 654"/>
              <a:gd name="T79" fmla="*/ 2147483647 h 450"/>
              <a:gd name="T80" fmla="*/ 2147483647 w 654"/>
              <a:gd name="T81" fmla="*/ 2147483647 h 450"/>
              <a:gd name="T82" fmla="*/ 2147483647 w 654"/>
              <a:gd name="T83" fmla="*/ 2147483647 h 450"/>
              <a:gd name="T84" fmla="*/ 2147483647 w 654"/>
              <a:gd name="T85" fmla="*/ 2147483647 h 450"/>
              <a:gd name="T86" fmla="*/ 2147483647 w 654"/>
              <a:gd name="T87" fmla="*/ 2147483647 h 450"/>
              <a:gd name="T88" fmla="*/ 2147483647 w 654"/>
              <a:gd name="T89" fmla="*/ 2147483647 h 450"/>
              <a:gd name="T90" fmla="*/ 2147483647 w 654"/>
              <a:gd name="T91" fmla="*/ 2147483647 h 450"/>
              <a:gd name="T92" fmla="*/ 2147483647 w 654"/>
              <a:gd name="T93" fmla="*/ 2147483647 h 450"/>
              <a:gd name="T94" fmla="*/ 2147483647 w 654"/>
              <a:gd name="T95" fmla="*/ 2147483647 h 450"/>
              <a:gd name="T96" fmla="*/ 2147483647 w 654"/>
              <a:gd name="T97" fmla="*/ 2147483647 h 450"/>
              <a:gd name="T98" fmla="*/ 2147483647 w 654"/>
              <a:gd name="T99" fmla="*/ 2147483647 h 450"/>
              <a:gd name="T100" fmla="*/ 2147483647 w 654"/>
              <a:gd name="T101" fmla="*/ 2147483647 h 450"/>
              <a:gd name="T102" fmla="*/ 2147483647 w 654"/>
              <a:gd name="T103" fmla="*/ 2147483647 h 450"/>
              <a:gd name="T104" fmla="*/ 2147483647 w 654"/>
              <a:gd name="T105" fmla="*/ 2147483647 h 450"/>
              <a:gd name="T106" fmla="*/ 2147483647 w 654"/>
              <a:gd name="T107" fmla="*/ 2147483647 h 450"/>
              <a:gd name="T108" fmla="*/ 2147483647 w 654"/>
              <a:gd name="T109" fmla="*/ 2147483647 h 450"/>
              <a:gd name="T110" fmla="*/ 2147483647 w 654"/>
              <a:gd name="T111" fmla="*/ 2147483647 h 450"/>
              <a:gd name="T112" fmla="*/ 2147483647 w 654"/>
              <a:gd name="T113" fmla="*/ 2147483647 h 450"/>
              <a:gd name="T114" fmla="*/ 2147483647 w 654"/>
              <a:gd name="T115" fmla="*/ 2147483647 h 450"/>
              <a:gd name="T116" fmla="*/ 2147483647 w 654"/>
              <a:gd name="T117" fmla="*/ 2147483647 h 450"/>
              <a:gd name="T118" fmla="*/ 0 w 654"/>
              <a:gd name="T119" fmla="*/ 2147483647 h 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654" h="450">
                <a:moveTo>
                  <a:pt x="0" y="114"/>
                </a:moveTo>
                <a:lnTo>
                  <a:pt x="54" y="108"/>
                </a:lnTo>
                <a:lnTo>
                  <a:pt x="84" y="108"/>
                </a:lnTo>
                <a:lnTo>
                  <a:pt x="138" y="114"/>
                </a:lnTo>
                <a:lnTo>
                  <a:pt x="150" y="96"/>
                </a:lnTo>
                <a:lnTo>
                  <a:pt x="168" y="72"/>
                </a:lnTo>
                <a:lnTo>
                  <a:pt x="204" y="66"/>
                </a:lnTo>
                <a:lnTo>
                  <a:pt x="222" y="48"/>
                </a:lnTo>
                <a:lnTo>
                  <a:pt x="264" y="24"/>
                </a:lnTo>
                <a:lnTo>
                  <a:pt x="282" y="30"/>
                </a:lnTo>
                <a:lnTo>
                  <a:pt x="300" y="42"/>
                </a:lnTo>
                <a:lnTo>
                  <a:pt x="294" y="60"/>
                </a:lnTo>
                <a:lnTo>
                  <a:pt x="294" y="90"/>
                </a:lnTo>
                <a:lnTo>
                  <a:pt x="324" y="90"/>
                </a:lnTo>
                <a:lnTo>
                  <a:pt x="378" y="96"/>
                </a:lnTo>
                <a:lnTo>
                  <a:pt x="414" y="96"/>
                </a:lnTo>
                <a:lnTo>
                  <a:pt x="444" y="72"/>
                </a:lnTo>
                <a:lnTo>
                  <a:pt x="468" y="66"/>
                </a:lnTo>
                <a:lnTo>
                  <a:pt x="510" y="72"/>
                </a:lnTo>
                <a:lnTo>
                  <a:pt x="540" y="60"/>
                </a:lnTo>
                <a:lnTo>
                  <a:pt x="564" y="36"/>
                </a:lnTo>
                <a:lnTo>
                  <a:pt x="582" y="24"/>
                </a:lnTo>
                <a:lnTo>
                  <a:pt x="624" y="6"/>
                </a:lnTo>
                <a:lnTo>
                  <a:pt x="636" y="0"/>
                </a:lnTo>
                <a:lnTo>
                  <a:pt x="654" y="30"/>
                </a:lnTo>
                <a:lnTo>
                  <a:pt x="636" y="36"/>
                </a:lnTo>
                <a:lnTo>
                  <a:pt x="588" y="60"/>
                </a:lnTo>
                <a:lnTo>
                  <a:pt x="552" y="96"/>
                </a:lnTo>
                <a:lnTo>
                  <a:pt x="510" y="144"/>
                </a:lnTo>
                <a:lnTo>
                  <a:pt x="468" y="192"/>
                </a:lnTo>
                <a:lnTo>
                  <a:pt x="444" y="216"/>
                </a:lnTo>
                <a:lnTo>
                  <a:pt x="420" y="240"/>
                </a:lnTo>
                <a:lnTo>
                  <a:pt x="396" y="288"/>
                </a:lnTo>
                <a:lnTo>
                  <a:pt x="372" y="306"/>
                </a:lnTo>
                <a:lnTo>
                  <a:pt x="348" y="300"/>
                </a:lnTo>
                <a:lnTo>
                  <a:pt x="330" y="330"/>
                </a:lnTo>
                <a:lnTo>
                  <a:pt x="270" y="360"/>
                </a:lnTo>
                <a:lnTo>
                  <a:pt x="228" y="372"/>
                </a:lnTo>
                <a:lnTo>
                  <a:pt x="204" y="378"/>
                </a:lnTo>
                <a:lnTo>
                  <a:pt x="180" y="402"/>
                </a:lnTo>
                <a:lnTo>
                  <a:pt x="150" y="402"/>
                </a:lnTo>
                <a:lnTo>
                  <a:pt x="138" y="414"/>
                </a:lnTo>
                <a:lnTo>
                  <a:pt x="120" y="426"/>
                </a:lnTo>
                <a:lnTo>
                  <a:pt x="96" y="432"/>
                </a:lnTo>
                <a:lnTo>
                  <a:pt x="60" y="438"/>
                </a:lnTo>
                <a:lnTo>
                  <a:pt x="12" y="450"/>
                </a:lnTo>
                <a:lnTo>
                  <a:pt x="18" y="432"/>
                </a:lnTo>
                <a:lnTo>
                  <a:pt x="36" y="420"/>
                </a:lnTo>
                <a:lnTo>
                  <a:pt x="54" y="396"/>
                </a:lnTo>
                <a:lnTo>
                  <a:pt x="84" y="396"/>
                </a:lnTo>
                <a:lnTo>
                  <a:pt x="162" y="342"/>
                </a:lnTo>
                <a:lnTo>
                  <a:pt x="186" y="300"/>
                </a:lnTo>
                <a:lnTo>
                  <a:pt x="180" y="264"/>
                </a:lnTo>
                <a:lnTo>
                  <a:pt x="144" y="270"/>
                </a:lnTo>
                <a:lnTo>
                  <a:pt x="102" y="282"/>
                </a:lnTo>
                <a:lnTo>
                  <a:pt x="84" y="258"/>
                </a:lnTo>
                <a:lnTo>
                  <a:pt x="84" y="228"/>
                </a:lnTo>
                <a:lnTo>
                  <a:pt x="66" y="174"/>
                </a:lnTo>
                <a:lnTo>
                  <a:pt x="42" y="168"/>
                </a:lnTo>
                <a:lnTo>
                  <a:pt x="0" y="114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14" name="Freeform 56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5097158" y="4822967"/>
            <a:ext cx="1753187" cy="1643057"/>
          </a:xfrm>
          <a:custGeom>
            <a:avLst/>
            <a:gdLst>
              <a:gd name="T0" fmla="*/ 2147483647 w 972"/>
              <a:gd name="T1" fmla="*/ 2147483647 h 1056"/>
              <a:gd name="T2" fmla="*/ 2147483647 w 972"/>
              <a:gd name="T3" fmla="*/ 2147483647 h 1056"/>
              <a:gd name="T4" fmla="*/ 2147483647 w 972"/>
              <a:gd name="T5" fmla="*/ 2147483647 h 1056"/>
              <a:gd name="T6" fmla="*/ 2147483647 w 972"/>
              <a:gd name="T7" fmla="*/ 2147483647 h 1056"/>
              <a:gd name="T8" fmla="*/ 2147483647 w 972"/>
              <a:gd name="T9" fmla="*/ 2147483647 h 1056"/>
              <a:gd name="T10" fmla="*/ 2147483647 w 972"/>
              <a:gd name="T11" fmla="*/ 2147483647 h 1056"/>
              <a:gd name="T12" fmla="*/ 2147483647 w 972"/>
              <a:gd name="T13" fmla="*/ 2147483647 h 1056"/>
              <a:gd name="T14" fmla="*/ 2147483647 w 972"/>
              <a:gd name="T15" fmla="*/ 2147483647 h 1056"/>
              <a:gd name="T16" fmla="*/ 2147483647 w 972"/>
              <a:gd name="T17" fmla="*/ 2147483647 h 1056"/>
              <a:gd name="T18" fmla="*/ 2147483647 w 972"/>
              <a:gd name="T19" fmla="*/ 2147483647 h 1056"/>
              <a:gd name="T20" fmla="*/ 2147483647 w 972"/>
              <a:gd name="T21" fmla="*/ 2147483647 h 1056"/>
              <a:gd name="T22" fmla="*/ 2147483647 w 972"/>
              <a:gd name="T23" fmla="*/ 2147483647 h 1056"/>
              <a:gd name="T24" fmla="*/ 2147483647 w 972"/>
              <a:gd name="T25" fmla="*/ 2147483647 h 1056"/>
              <a:gd name="T26" fmla="*/ 2147483647 w 972"/>
              <a:gd name="T27" fmla="*/ 2147483647 h 1056"/>
              <a:gd name="T28" fmla="*/ 2147483647 w 972"/>
              <a:gd name="T29" fmla="*/ 2147483647 h 1056"/>
              <a:gd name="T30" fmla="*/ 2147483647 w 972"/>
              <a:gd name="T31" fmla="*/ 2147483647 h 1056"/>
              <a:gd name="T32" fmla="*/ 2147483647 w 972"/>
              <a:gd name="T33" fmla="*/ 2147483647 h 1056"/>
              <a:gd name="T34" fmla="*/ 2147483647 w 972"/>
              <a:gd name="T35" fmla="*/ 2147483647 h 1056"/>
              <a:gd name="T36" fmla="*/ 2147483647 w 972"/>
              <a:gd name="T37" fmla="*/ 2147483647 h 1056"/>
              <a:gd name="T38" fmla="*/ 2147483647 w 972"/>
              <a:gd name="T39" fmla="*/ 2147483647 h 1056"/>
              <a:gd name="T40" fmla="*/ 2147483647 w 972"/>
              <a:gd name="T41" fmla="*/ 2147483647 h 1056"/>
              <a:gd name="T42" fmla="*/ 2147483647 w 972"/>
              <a:gd name="T43" fmla="*/ 2147483647 h 1056"/>
              <a:gd name="T44" fmla="*/ 2147483647 w 972"/>
              <a:gd name="T45" fmla="*/ 2147483647 h 1056"/>
              <a:gd name="T46" fmla="*/ 2147483647 w 972"/>
              <a:gd name="T47" fmla="*/ 2147483647 h 1056"/>
              <a:gd name="T48" fmla="*/ 2147483647 w 972"/>
              <a:gd name="T49" fmla="*/ 2147483647 h 1056"/>
              <a:gd name="T50" fmla="*/ 2147483647 w 972"/>
              <a:gd name="T51" fmla="*/ 2147483647 h 1056"/>
              <a:gd name="T52" fmla="*/ 2147483647 w 972"/>
              <a:gd name="T53" fmla="*/ 2147483647 h 1056"/>
              <a:gd name="T54" fmla="*/ 2147483647 w 972"/>
              <a:gd name="T55" fmla="*/ 2147483647 h 1056"/>
              <a:gd name="T56" fmla="*/ 2147483647 w 972"/>
              <a:gd name="T57" fmla="*/ 2147483647 h 1056"/>
              <a:gd name="T58" fmla="*/ 2147483647 w 972"/>
              <a:gd name="T59" fmla="*/ 2147483647 h 1056"/>
              <a:gd name="T60" fmla="*/ 2147483647 w 972"/>
              <a:gd name="T61" fmla="*/ 2147483647 h 1056"/>
              <a:gd name="T62" fmla="*/ 2147483647 w 972"/>
              <a:gd name="T63" fmla="*/ 2147483647 h 1056"/>
              <a:gd name="T64" fmla="*/ 2147483647 w 972"/>
              <a:gd name="T65" fmla="*/ 2147483647 h 1056"/>
              <a:gd name="T66" fmla="*/ 2147483647 w 972"/>
              <a:gd name="T67" fmla="*/ 2147483647 h 1056"/>
              <a:gd name="T68" fmla="*/ 2147483647 w 972"/>
              <a:gd name="T69" fmla="*/ 2147483647 h 1056"/>
              <a:gd name="T70" fmla="*/ 2147483647 w 972"/>
              <a:gd name="T71" fmla="*/ 2147483647 h 1056"/>
              <a:gd name="T72" fmla="*/ 2147483647 w 972"/>
              <a:gd name="T73" fmla="*/ 2147483647 h 1056"/>
              <a:gd name="T74" fmla="*/ 2147483647 w 972"/>
              <a:gd name="T75" fmla="*/ 2147483647 h 1056"/>
              <a:gd name="T76" fmla="*/ 2147483647 w 972"/>
              <a:gd name="T77" fmla="*/ 2147483647 h 1056"/>
              <a:gd name="T78" fmla="*/ 2147483647 w 972"/>
              <a:gd name="T79" fmla="*/ 2147483647 h 1056"/>
              <a:gd name="T80" fmla="*/ 2147483647 w 972"/>
              <a:gd name="T81" fmla="*/ 2147483647 h 1056"/>
              <a:gd name="T82" fmla="*/ 2147483647 w 972"/>
              <a:gd name="T83" fmla="*/ 2147483647 h 1056"/>
              <a:gd name="T84" fmla="*/ 2147483647 w 972"/>
              <a:gd name="T85" fmla="*/ 2147483647 h 1056"/>
              <a:gd name="T86" fmla="*/ 2147483647 w 972"/>
              <a:gd name="T87" fmla="*/ 2147483647 h 1056"/>
              <a:gd name="T88" fmla="*/ 2147483647 w 972"/>
              <a:gd name="T89" fmla="*/ 2147483647 h 1056"/>
              <a:gd name="T90" fmla="*/ 2147483647 w 972"/>
              <a:gd name="T91" fmla="*/ 2147483647 h 1056"/>
              <a:gd name="T92" fmla="*/ 2147483647 w 972"/>
              <a:gd name="T93" fmla="*/ 2147483647 h 105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972" h="1056">
                <a:moveTo>
                  <a:pt x="804" y="504"/>
                </a:moveTo>
                <a:lnTo>
                  <a:pt x="780" y="522"/>
                </a:lnTo>
                <a:lnTo>
                  <a:pt x="756" y="528"/>
                </a:lnTo>
                <a:lnTo>
                  <a:pt x="732" y="540"/>
                </a:lnTo>
                <a:lnTo>
                  <a:pt x="726" y="546"/>
                </a:lnTo>
                <a:lnTo>
                  <a:pt x="708" y="570"/>
                </a:lnTo>
                <a:lnTo>
                  <a:pt x="696" y="582"/>
                </a:lnTo>
                <a:lnTo>
                  <a:pt x="684" y="588"/>
                </a:lnTo>
                <a:lnTo>
                  <a:pt x="684" y="594"/>
                </a:lnTo>
                <a:lnTo>
                  <a:pt x="678" y="600"/>
                </a:lnTo>
                <a:lnTo>
                  <a:pt x="678" y="612"/>
                </a:lnTo>
                <a:lnTo>
                  <a:pt x="672" y="624"/>
                </a:lnTo>
                <a:lnTo>
                  <a:pt x="666" y="642"/>
                </a:lnTo>
                <a:lnTo>
                  <a:pt x="660" y="654"/>
                </a:lnTo>
                <a:lnTo>
                  <a:pt x="654" y="672"/>
                </a:lnTo>
                <a:lnTo>
                  <a:pt x="648" y="684"/>
                </a:lnTo>
                <a:lnTo>
                  <a:pt x="642" y="702"/>
                </a:lnTo>
                <a:lnTo>
                  <a:pt x="636" y="714"/>
                </a:lnTo>
                <a:lnTo>
                  <a:pt x="630" y="726"/>
                </a:lnTo>
                <a:lnTo>
                  <a:pt x="624" y="732"/>
                </a:lnTo>
                <a:lnTo>
                  <a:pt x="624" y="738"/>
                </a:lnTo>
                <a:lnTo>
                  <a:pt x="618" y="744"/>
                </a:lnTo>
                <a:lnTo>
                  <a:pt x="606" y="756"/>
                </a:lnTo>
                <a:lnTo>
                  <a:pt x="594" y="762"/>
                </a:lnTo>
                <a:lnTo>
                  <a:pt x="594" y="774"/>
                </a:lnTo>
                <a:lnTo>
                  <a:pt x="564" y="792"/>
                </a:lnTo>
                <a:lnTo>
                  <a:pt x="558" y="798"/>
                </a:lnTo>
                <a:lnTo>
                  <a:pt x="540" y="810"/>
                </a:lnTo>
                <a:lnTo>
                  <a:pt x="540" y="816"/>
                </a:lnTo>
                <a:lnTo>
                  <a:pt x="498" y="858"/>
                </a:lnTo>
                <a:lnTo>
                  <a:pt x="486" y="906"/>
                </a:lnTo>
                <a:lnTo>
                  <a:pt x="480" y="924"/>
                </a:lnTo>
                <a:lnTo>
                  <a:pt x="480" y="930"/>
                </a:lnTo>
                <a:lnTo>
                  <a:pt x="474" y="936"/>
                </a:lnTo>
                <a:lnTo>
                  <a:pt x="444" y="942"/>
                </a:lnTo>
                <a:lnTo>
                  <a:pt x="426" y="948"/>
                </a:lnTo>
                <a:lnTo>
                  <a:pt x="408" y="954"/>
                </a:lnTo>
                <a:lnTo>
                  <a:pt x="396" y="960"/>
                </a:lnTo>
                <a:lnTo>
                  <a:pt x="390" y="966"/>
                </a:lnTo>
                <a:lnTo>
                  <a:pt x="378" y="966"/>
                </a:lnTo>
                <a:lnTo>
                  <a:pt x="372" y="972"/>
                </a:lnTo>
                <a:lnTo>
                  <a:pt x="366" y="972"/>
                </a:lnTo>
                <a:lnTo>
                  <a:pt x="342" y="972"/>
                </a:lnTo>
                <a:lnTo>
                  <a:pt x="336" y="972"/>
                </a:lnTo>
                <a:lnTo>
                  <a:pt x="312" y="972"/>
                </a:lnTo>
                <a:lnTo>
                  <a:pt x="282" y="972"/>
                </a:lnTo>
                <a:lnTo>
                  <a:pt x="270" y="972"/>
                </a:lnTo>
                <a:lnTo>
                  <a:pt x="264" y="972"/>
                </a:lnTo>
                <a:lnTo>
                  <a:pt x="258" y="972"/>
                </a:lnTo>
                <a:lnTo>
                  <a:pt x="246" y="972"/>
                </a:lnTo>
                <a:lnTo>
                  <a:pt x="240" y="972"/>
                </a:lnTo>
                <a:lnTo>
                  <a:pt x="234" y="972"/>
                </a:lnTo>
                <a:lnTo>
                  <a:pt x="228" y="978"/>
                </a:lnTo>
                <a:lnTo>
                  <a:pt x="216" y="978"/>
                </a:lnTo>
                <a:lnTo>
                  <a:pt x="192" y="984"/>
                </a:lnTo>
                <a:lnTo>
                  <a:pt x="180" y="984"/>
                </a:lnTo>
                <a:lnTo>
                  <a:pt x="180" y="990"/>
                </a:lnTo>
                <a:lnTo>
                  <a:pt x="168" y="990"/>
                </a:lnTo>
                <a:lnTo>
                  <a:pt x="156" y="990"/>
                </a:lnTo>
                <a:lnTo>
                  <a:pt x="150" y="996"/>
                </a:lnTo>
                <a:lnTo>
                  <a:pt x="144" y="996"/>
                </a:lnTo>
                <a:lnTo>
                  <a:pt x="138" y="996"/>
                </a:lnTo>
                <a:lnTo>
                  <a:pt x="126" y="1002"/>
                </a:lnTo>
                <a:lnTo>
                  <a:pt x="102" y="1008"/>
                </a:lnTo>
                <a:lnTo>
                  <a:pt x="84" y="1020"/>
                </a:lnTo>
                <a:lnTo>
                  <a:pt x="72" y="1026"/>
                </a:lnTo>
                <a:lnTo>
                  <a:pt x="60" y="1032"/>
                </a:lnTo>
                <a:lnTo>
                  <a:pt x="54" y="1032"/>
                </a:lnTo>
                <a:lnTo>
                  <a:pt x="48" y="1038"/>
                </a:lnTo>
                <a:lnTo>
                  <a:pt x="42" y="1044"/>
                </a:lnTo>
                <a:lnTo>
                  <a:pt x="36" y="1044"/>
                </a:lnTo>
                <a:lnTo>
                  <a:pt x="30" y="1044"/>
                </a:lnTo>
                <a:lnTo>
                  <a:pt x="24" y="1044"/>
                </a:lnTo>
                <a:lnTo>
                  <a:pt x="12" y="1050"/>
                </a:lnTo>
                <a:lnTo>
                  <a:pt x="6" y="1050"/>
                </a:lnTo>
                <a:lnTo>
                  <a:pt x="0" y="1056"/>
                </a:lnTo>
                <a:lnTo>
                  <a:pt x="42" y="918"/>
                </a:lnTo>
                <a:lnTo>
                  <a:pt x="30" y="882"/>
                </a:lnTo>
                <a:lnTo>
                  <a:pt x="84" y="588"/>
                </a:lnTo>
                <a:lnTo>
                  <a:pt x="96" y="498"/>
                </a:lnTo>
                <a:lnTo>
                  <a:pt x="90" y="420"/>
                </a:lnTo>
                <a:lnTo>
                  <a:pt x="72" y="384"/>
                </a:lnTo>
                <a:lnTo>
                  <a:pt x="60" y="354"/>
                </a:lnTo>
                <a:lnTo>
                  <a:pt x="60" y="324"/>
                </a:lnTo>
                <a:lnTo>
                  <a:pt x="66" y="300"/>
                </a:lnTo>
                <a:lnTo>
                  <a:pt x="78" y="264"/>
                </a:lnTo>
                <a:lnTo>
                  <a:pt x="120" y="246"/>
                </a:lnTo>
                <a:lnTo>
                  <a:pt x="138" y="222"/>
                </a:lnTo>
                <a:lnTo>
                  <a:pt x="162" y="228"/>
                </a:lnTo>
                <a:lnTo>
                  <a:pt x="192" y="216"/>
                </a:lnTo>
                <a:lnTo>
                  <a:pt x="210" y="210"/>
                </a:lnTo>
                <a:lnTo>
                  <a:pt x="240" y="234"/>
                </a:lnTo>
                <a:lnTo>
                  <a:pt x="258" y="222"/>
                </a:lnTo>
                <a:lnTo>
                  <a:pt x="276" y="216"/>
                </a:lnTo>
                <a:lnTo>
                  <a:pt x="282" y="228"/>
                </a:lnTo>
                <a:lnTo>
                  <a:pt x="294" y="240"/>
                </a:lnTo>
                <a:lnTo>
                  <a:pt x="324" y="216"/>
                </a:lnTo>
                <a:lnTo>
                  <a:pt x="360" y="204"/>
                </a:lnTo>
                <a:lnTo>
                  <a:pt x="378" y="210"/>
                </a:lnTo>
                <a:lnTo>
                  <a:pt x="414" y="198"/>
                </a:lnTo>
                <a:lnTo>
                  <a:pt x="450" y="186"/>
                </a:lnTo>
                <a:lnTo>
                  <a:pt x="468" y="168"/>
                </a:lnTo>
                <a:lnTo>
                  <a:pt x="540" y="162"/>
                </a:lnTo>
                <a:lnTo>
                  <a:pt x="612" y="156"/>
                </a:lnTo>
                <a:lnTo>
                  <a:pt x="642" y="144"/>
                </a:lnTo>
                <a:lnTo>
                  <a:pt x="660" y="126"/>
                </a:lnTo>
                <a:lnTo>
                  <a:pt x="678" y="108"/>
                </a:lnTo>
                <a:lnTo>
                  <a:pt x="696" y="90"/>
                </a:lnTo>
                <a:lnTo>
                  <a:pt x="726" y="78"/>
                </a:lnTo>
                <a:lnTo>
                  <a:pt x="708" y="60"/>
                </a:lnTo>
                <a:lnTo>
                  <a:pt x="762" y="12"/>
                </a:lnTo>
                <a:lnTo>
                  <a:pt x="798" y="0"/>
                </a:lnTo>
                <a:lnTo>
                  <a:pt x="828" y="6"/>
                </a:lnTo>
                <a:lnTo>
                  <a:pt x="846" y="24"/>
                </a:lnTo>
                <a:lnTo>
                  <a:pt x="846" y="48"/>
                </a:lnTo>
                <a:lnTo>
                  <a:pt x="882" y="60"/>
                </a:lnTo>
                <a:lnTo>
                  <a:pt x="912" y="90"/>
                </a:lnTo>
                <a:lnTo>
                  <a:pt x="942" y="126"/>
                </a:lnTo>
                <a:lnTo>
                  <a:pt x="972" y="144"/>
                </a:lnTo>
                <a:lnTo>
                  <a:pt x="954" y="174"/>
                </a:lnTo>
                <a:lnTo>
                  <a:pt x="918" y="204"/>
                </a:lnTo>
                <a:lnTo>
                  <a:pt x="918" y="252"/>
                </a:lnTo>
                <a:lnTo>
                  <a:pt x="930" y="258"/>
                </a:lnTo>
                <a:lnTo>
                  <a:pt x="954" y="264"/>
                </a:lnTo>
                <a:lnTo>
                  <a:pt x="930" y="276"/>
                </a:lnTo>
                <a:lnTo>
                  <a:pt x="924" y="288"/>
                </a:lnTo>
                <a:lnTo>
                  <a:pt x="948" y="294"/>
                </a:lnTo>
                <a:lnTo>
                  <a:pt x="948" y="306"/>
                </a:lnTo>
                <a:lnTo>
                  <a:pt x="900" y="294"/>
                </a:lnTo>
                <a:lnTo>
                  <a:pt x="870" y="282"/>
                </a:lnTo>
                <a:lnTo>
                  <a:pt x="840" y="294"/>
                </a:lnTo>
                <a:lnTo>
                  <a:pt x="810" y="312"/>
                </a:lnTo>
                <a:lnTo>
                  <a:pt x="774" y="306"/>
                </a:lnTo>
                <a:lnTo>
                  <a:pt x="744" y="294"/>
                </a:lnTo>
                <a:lnTo>
                  <a:pt x="714" y="318"/>
                </a:lnTo>
                <a:lnTo>
                  <a:pt x="720" y="372"/>
                </a:lnTo>
                <a:lnTo>
                  <a:pt x="738" y="354"/>
                </a:lnTo>
                <a:lnTo>
                  <a:pt x="762" y="360"/>
                </a:lnTo>
                <a:lnTo>
                  <a:pt x="786" y="408"/>
                </a:lnTo>
                <a:lnTo>
                  <a:pt x="786" y="462"/>
                </a:lnTo>
                <a:lnTo>
                  <a:pt x="804" y="504"/>
                </a:lnTo>
                <a:close/>
              </a:path>
            </a:pathLst>
          </a:custGeom>
          <a:pattFill prst="wdUpDiag">
            <a:fgClr>
              <a:srgbClr val="FF0000"/>
            </a:fgClr>
            <a:bgClr>
              <a:srgbClr val="FF9900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5" name="Freeform 57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4860589" y="4120631"/>
            <a:ext cx="1168179" cy="1334984"/>
          </a:xfrm>
          <a:custGeom>
            <a:avLst/>
            <a:gdLst>
              <a:gd name="T0" fmla="*/ 0 w 648"/>
              <a:gd name="T1" fmla="*/ 2147483647 h 858"/>
              <a:gd name="T2" fmla="*/ 2147483647 w 648"/>
              <a:gd name="T3" fmla="*/ 2147483647 h 858"/>
              <a:gd name="T4" fmla="*/ 2147483647 w 648"/>
              <a:gd name="T5" fmla="*/ 2147483647 h 858"/>
              <a:gd name="T6" fmla="*/ 2147483647 w 648"/>
              <a:gd name="T7" fmla="*/ 2147483647 h 858"/>
              <a:gd name="T8" fmla="*/ 2147483647 w 648"/>
              <a:gd name="T9" fmla="*/ 2147483647 h 858"/>
              <a:gd name="T10" fmla="*/ 2147483647 w 648"/>
              <a:gd name="T11" fmla="*/ 2147483647 h 858"/>
              <a:gd name="T12" fmla="*/ 2147483647 w 648"/>
              <a:gd name="T13" fmla="*/ 2147483647 h 858"/>
              <a:gd name="T14" fmla="*/ 2147483647 w 648"/>
              <a:gd name="T15" fmla="*/ 2147483647 h 858"/>
              <a:gd name="T16" fmla="*/ 2147483647 w 648"/>
              <a:gd name="T17" fmla="*/ 2147483647 h 858"/>
              <a:gd name="T18" fmla="*/ 2147483647 w 648"/>
              <a:gd name="T19" fmla="*/ 2147483647 h 858"/>
              <a:gd name="T20" fmla="*/ 2147483647 w 648"/>
              <a:gd name="T21" fmla="*/ 2147483647 h 858"/>
              <a:gd name="T22" fmla="*/ 2147483647 w 648"/>
              <a:gd name="T23" fmla="*/ 2147483647 h 858"/>
              <a:gd name="T24" fmla="*/ 2147483647 w 648"/>
              <a:gd name="T25" fmla="*/ 2147483647 h 858"/>
              <a:gd name="T26" fmla="*/ 2147483647 w 648"/>
              <a:gd name="T27" fmla="*/ 2147483647 h 858"/>
              <a:gd name="T28" fmla="*/ 2147483647 w 648"/>
              <a:gd name="T29" fmla="*/ 2147483647 h 858"/>
              <a:gd name="T30" fmla="*/ 2147483647 w 648"/>
              <a:gd name="T31" fmla="*/ 2147483647 h 858"/>
              <a:gd name="T32" fmla="*/ 2147483647 w 648"/>
              <a:gd name="T33" fmla="*/ 2147483647 h 858"/>
              <a:gd name="T34" fmla="*/ 2147483647 w 648"/>
              <a:gd name="T35" fmla="*/ 2147483647 h 858"/>
              <a:gd name="T36" fmla="*/ 2147483647 w 648"/>
              <a:gd name="T37" fmla="*/ 0 h 858"/>
              <a:gd name="T38" fmla="*/ 2147483647 w 648"/>
              <a:gd name="T39" fmla="*/ 2147483647 h 858"/>
              <a:gd name="T40" fmla="*/ 2147483647 w 648"/>
              <a:gd name="T41" fmla="*/ 2147483647 h 858"/>
              <a:gd name="T42" fmla="*/ 2147483647 w 648"/>
              <a:gd name="T43" fmla="*/ 2147483647 h 858"/>
              <a:gd name="T44" fmla="*/ 2147483647 w 648"/>
              <a:gd name="T45" fmla="*/ 2147483647 h 858"/>
              <a:gd name="T46" fmla="*/ 2147483647 w 648"/>
              <a:gd name="T47" fmla="*/ 2147483647 h 858"/>
              <a:gd name="T48" fmla="*/ 2147483647 w 648"/>
              <a:gd name="T49" fmla="*/ 2147483647 h 858"/>
              <a:gd name="T50" fmla="*/ 2147483647 w 648"/>
              <a:gd name="T51" fmla="*/ 2147483647 h 858"/>
              <a:gd name="T52" fmla="*/ 2147483647 w 648"/>
              <a:gd name="T53" fmla="*/ 2147483647 h 858"/>
              <a:gd name="T54" fmla="*/ 2147483647 w 648"/>
              <a:gd name="T55" fmla="*/ 2147483647 h 858"/>
              <a:gd name="T56" fmla="*/ 2147483647 w 648"/>
              <a:gd name="T57" fmla="*/ 2147483647 h 858"/>
              <a:gd name="T58" fmla="*/ 2147483647 w 648"/>
              <a:gd name="T59" fmla="*/ 2147483647 h 858"/>
              <a:gd name="T60" fmla="*/ 2147483647 w 648"/>
              <a:gd name="T61" fmla="*/ 2147483647 h 858"/>
              <a:gd name="T62" fmla="*/ 2147483647 w 648"/>
              <a:gd name="T63" fmla="*/ 2147483647 h 858"/>
              <a:gd name="T64" fmla="*/ 2147483647 w 648"/>
              <a:gd name="T65" fmla="*/ 2147483647 h 858"/>
              <a:gd name="T66" fmla="*/ 2147483647 w 648"/>
              <a:gd name="T67" fmla="*/ 2147483647 h 858"/>
              <a:gd name="T68" fmla="*/ 2147483647 w 648"/>
              <a:gd name="T69" fmla="*/ 2147483647 h 858"/>
              <a:gd name="T70" fmla="*/ 2147483647 w 648"/>
              <a:gd name="T71" fmla="*/ 2147483647 h 858"/>
              <a:gd name="T72" fmla="*/ 2147483647 w 648"/>
              <a:gd name="T73" fmla="*/ 2147483647 h 85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648" h="858">
                <a:moveTo>
                  <a:pt x="6" y="858"/>
                </a:moveTo>
                <a:lnTo>
                  <a:pt x="0" y="828"/>
                </a:lnTo>
                <a:lnTo>
                  <a:pt x="12" y="798"/>
                </a:lnTo>
                <a:lnTo>
                  <a:pt x="18" y="774"/>
                </a:lnTo>
                <a:lnTo>
                  <a:pt x="36" y="750"/>
                </a:lnTo>
                <a:lnTo>
                  <a:pt x="42" y="714"/>
                </a:lnTo>
                <a:lnTo>
                  <a:pt x="48" y="684"/>
                </a:lnTo>
                <a:lnTo>
                  <a:pt x="66" y="648"/>
                </a:lnTo>
                <a:lnTo>
                  <a:pt x="84" y="648"/>
                </a:lnTo>
                <a:lnTo>
                  <a:pt x="102" y="636"/>
                </a:lnTo>
                <a:lnTo>
                  <a:pt x="96" y="606"/>
                </a:lnTo>
                <a:lnTo>
                  <a:pt x="108" y="576"/>
                </a:lnTo>
                <a:lnTo>
                  <a:pt x="120" y="558"/>
                </a:lnTo>
                <a:lnTo>
                  <a:pt x="120" y="534"/>
                </a:lnTo>
                <a:lnTo>
                  <a:pt x="162" y="480"/>
                </a:lnTo>
                <a:lnTo>
                  <a:pt x="180" y="438"/>
                </a:lnTo>
                <a:lnTo>
                  <a:pt x="180" y="408"/>
                </a:lnTo>
                <a:lnTo>
                  <a:pt x="192" y="408"/>
                </a:lnTo>
                <a:lnTo>
                  <a:pt x="186" y="378"/>
                </a:lnTo>
                <a:lnTo>
                  <a:pt x="186" y="336"/>
                </a:lnTo>
                <a:lnTo>
                  <a:pt x="180" y="318"/>
                </a:lnTo>
                <a:lnTo>
                  <a:pt x="180" y="282"/>
                </a:lnTo>
                <a:lnTo>
                  <a:pt x="168" y="258"/>
                </a:lnTo>
                <a:lnTo>
                  <a:pt x="168" y="222"/>
                </a:lnTo>
                <a:lnTo>
                  <a:pt x="174" y="186"/>
                </a:lnTo>
                <a:lnTo>
                  <a:pt x="186" y="156"/>
                </a:lnTo>
                <a:lnTo>
                  <a:pt x="192" y="132"/>
                </a:lnTo>
                <a:lnTo>
                  <a:pt x="186" y="96"/>
                </a:lnTo>
                <a:lnTo>
                  <a:pt x="186" y="66"/>
                </a:lnTo>
                <a:lnTo>
                  <a:pt x="186" y="54"/>
                </a:lnTo>
                <a:lnTo>
                  <a:pt x="216" y="54"/>
                </a:lnTo>
                <a:lnTo>
                  <a:pt x="270" y="54"/>
                </a:lnTo>
                <a:lnTo>
                  <a:pt x="318" y="54"/>
                </a:lnTo>
                <a:lnTo>
                  <a:pt x="354" y="48"/>
                </a:lnTo>
                <a:lnTo>
                  <a:pt x="360" y="30"/>
                </a:lnTo>
                <a:lnTo>
                  <a:pt x="378" y="18"/>
                </a:lnTo>
                <a:lnTo>
                  <a:pt x="378" y="0"/>
                </a:lnTo>
                <a:lnTo>
                  <a:pt x="408" y="0"/>
                </a:lnTo>
                <a:lnTo>
                  <a:pt x="432" y="6"/>
                </a:lnTo>
                <a:lnTo>
                  <a:pt x="468" y="36"/>
                </a:lnTo>
                <a:lnTo>
                  <a:pt x="498" y="72"/>
                </a:lnTo>
                <a:lnTo>
                  <a:pt x="540" y="96"/>
                </a:lnTo>
                <a:lnTo>
                  <a:pt x="576" y="78"/>
                </a:lnTo>
                <a:lnTo>
                  <a:pt x="588" y="60"/>
                </a:lnTo>
                <a:lnTo>
                  <a:pt x="648" y="84"/>
                </a:lnTo>
                <a:lnTo>
                  <a:pt x="636" y="96"/>
                </a:lnTo>
                <a:lnTo>
                  <a:pt x="600" y="114"/>
                </a:lnTo>
                <a:lnTo>
                  <a:pt x="558" y="138"/>
                </a:lnTo>
                <a:lnTo>
                  <a:pt x="534" y="138"/>
                </a:lnTo>
                <a:lnTo>
                  <a:pt x="522" y="144"/>
                </a:lnTo>
                <a:lnTo>
                  <a:pt x="480" y="174"/>
                </a:lnTo>
                <a:lnTo>
                  <a:pt x="438" y="222"/>
                </a:lnTo>
                <a:lnTo>
                  <a:pt x="426" y="258"/>
                </a:lnTo>
                <a:lnTo>
                  <a:pt x="408" y="294"/>
                </a:lnTo>
                <a:lnTo>
                  <a:pt x="378" y="330"/>
                </a:lnTo>
                <a:lnTo>
                  <a:pt x="372" y="378"/>
                </a:lnTo>
                <a:lnTo>
                  <a:pt x="348" y="378"/>
                </a:lnTo>
                <a:lnTo>
                  <a:pt x="348" y="402"/>
                </a:lnTo>
                <a:lnTo>
                  <a:pt x="348" y="456"/>
                </a:lnTo>
                <a:lnTo>
                  <a:pt x="330" y="528"/>
                </a:lnTo>
                <a:lnTo>
                  <a:pt x="312" y="558"/>
                </a:lnTo>
                <a:lnTo>
                  <a:pt x="282" y="570"/>
                </a:lnTo>
                <a:lnTo>
                  <a:pt x="282" y="606"/>
                </a:lnTo>
                <a:lnTo>
                  <a:pt x="264" y="636"/>
                </a:lnTo>
                <a:lnTo>
                  <a:pt x="270" y="672"/>
                </a:lnTo>
                <a:lnTo>
                  <a:pt x="252" y="696"/>
                </a:lnTo>
                <a:lnTo>
                  <a:pt x="210" y="714"/>
                </a:lnTo>
                <a:lnTo>
                  <a:pt x="198" y="750"/>
                </a:lnTo>
                <a:lnTo>
                  <a:pt x="162" y="750"/>
                </a:lnTo>
                <a:lnTo>
                  <a:pt x="138" y="756"/>
                </a:lnTo>
                <a:lnTo>
                  <a:pt x="114" y="786"/>
                </a:lnTo>
                <a:lnTo>
                  <a:pt x="60" y="822"/>
                </a:lnTo>
                <a:lnTo>
                  <a:pt x="24" y="834"/>
                </a:lnTo>
                <a:lnTo>
                  <a:pt x="6" y="858"/>
                </a:lnTo>
                <a:close/>
              </a:path>
            </a:pathLst>
          </a:custGeom>
          <a:solidFill>
            <a:srgbClr val="FF000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6" name="Freeform 58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7769117" y="2860834"/>
            <a:ext cx="671200" cy="540961"/>
          </a:xfrm>
          <a:custGeom>
            <a:avLst/>
            <a:gdLst>
              <a:gd name="T0" fmla="*/ 2147483647 w 372"/>
              <a:gd name="T1" fmla="*/ 2147483647 h 348"/>
              <a:gd name="T2" fmla="*/ 2147483647 w 372"/>
              <a:gd name="T3" fmla="*/ 2147483647 h 348"/>
              <a:gd name="T4" fmla="*/ 2147483647 w 372"/>
              <a:gd name="T5" fmla="*/ 2147483647 h 348"/>
              <a:gd name="T6" fmla="*/ 2147483647 w 372"/>
              <a:gd name="T7" fmla="*/ 2147483647 h 348"/>
              <a:gd name="T8" fmla="*/ 2147483647 w 372"/>
              <a:gd name="T9" fmla="*/ 2147483647 h 348"/>
              <a:gd name="T10" fmla="*/ 2147483647 w 372"/>
              <a:gd name="T11" fmla="*/ 0 h 348"/>
              <a:gd name="T12" fmla="*/ 2147483647 w 372"/>
              <a:gd name="T13" fmla="*/ 2147483647 h 348"/>
              <a:gd name="T14" fmla="*/ 2147483647 w 372"/>
              <a:gd name="T15" fmla="*/ 2147483647 h 348"/>
              <a:gd name="T16" fmla="*/ 2147483647 w 372"/>
              <a:gd name="T17" fmla="*/ 2147483647 h 348"/>
              <a:gd name="T18" fmla="*/ 2147483647 w 372"/>
              <a:gd name="T19" fmla="*/ 2147483647 h 348"/>
              <a:gd name="T20" fmla="*/ 2147483647 w 372"/>
              <a:gd name="T21" fmla="*/ 2147483647 h 348"/>
              <a:gd name="T22" fmla="*/ 2147483647 w 372"/>
              <a:gd name="T23" fmla="*/ 2147483647 h 348"/>
              <a:gd name="T24" fmla="*/ 2147483647 w 372"/>
              <a:gd name="T25" fmla="*/ 2147483647 h 348"/>
              <a:gd name="T26" fmla="*/ 2147483647 w 372"/>
              <a:gd name="T27" fmla="*/ 2147483647 h 348"/>
              <a:gd name="T28" fmla="*/ 2147483647 w 372"/>
              <a:gd name="T29" fmla="*/ 2147483647 h 348"/>
              <a:gd name="T30" fmla="*/ 2147483647 w 372"/>
              <a:gd name="T31" fmla="*/ 2147483647 h 348"/>
              <a:gd name="T32" fmla="*/ 2147483647 w 372"/>
              <a:gd name="T33" fmla="*/ 2147483647 h 348"/>
              <a:gd name="T34" fmla="*/ 2147483647 w 372"/>
              <a:gd name="T35" fmla="*/ 2147483647 h 348"/>
              <a:gd name="T36" fmla="*/ 2147483647 w 372"/>
              <a:gd name="T37" fmla="*/ 2147483647 h 348"/>
              <a:gd name="T38" fmla="*/ 2147483647 w 372"/>
              <a:gd name="T39" fmla="*/ 2147483647 h 348"/>
              <a:gd name="T40" fmla="*/ 2147483647 w 372"/>
              <a:gd name="T41" fmla="*/ 2147483647 h 348"/>
              <a:gd name="T42" fmla="*/ 2147483647 w 372"/>
              <a:gd name="T43" fmla="*/ 2147483647 h 348"/>
              <a:gd name="T44" fmla="*/ 2147483647 w 372"/>
              <a:gd name="T45" fmla="*/ 2147483647 h 348"/>
              <a:gd name="T46" fmla="*/ 2147483647 w 372"/>
              <a:gd name="T47" fmla="*/ 2147483647 h 348"/>
              <a:gd name="T48" fmla="*/ 2147483647 w 372"/>
              <a:gd name="T49" fmla="*/ 2147483647 h 348"/>
              <a:gd name="T50" fmla="*/ 2147483647 w 372"/>
              <a:gd name="T51" fmla="*/ 2147483647 h 348"/>
              <a:gd name="T52" fmla="*/ 2147483647 w 372"/>
              <a:gd name="T53" fmla="*/ 2147483647 h 348"/>
              <a:gd name="T54" fmla="*/ 2147483647 w 372"/>
              <a:gd name="T55" fmla="*/ 2147483647 h 348"/>
              <a:gd name="T56" fmla="*/ 2147483647 w 372"/>
              <a:gd name="T57" fmla="*/ 2147483647 h 348"/>
              <a:gd name="T58" fmla="*/ 2147483647 w 372"/>
              <a:gd name="T59" fmla="*/ 2147483647 h 348"/>
              <a:gd name="T60" fmla="*/ 0 w 372"/>
              <a:gd name="T61" fmla="*/ 2147483647 h 348"/>
              <a:gd name="T62" fmla="*/ 2147483647 w 372"/>
              <a:gd name="T63" fmla="*/ 2147483647 h 348"/>
              <a:gd name="T64" fmla="*/ 2147483647 w 372"/>
              <a:gd name="T65" fmla="*/ 2147483647 h 348"/>
              <a:gd name="T66" fmla="*/ 2147483647 w 372"/>
              <a:gd name="T67" fmla="*/ 2147483647 h 348"/>
              <a:gd name="T68" fmla="*/ 2147483647 w 372"/>
              <a:gd name="T69" fmla="*/ 2147483647 h 348"/>
              <a:gd name="T70" fmla="*/ 2147483647 w 372"/>
              <a:gd name="T71" fmla="*/ 2147483647 h 348"/>
              <a:gd name="T72" fmla="*/ 2147483647 w 372"/>
              <a:gd name="T73" fmla="*/ 2147483647 h 3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372" h="348">
                <a:moveTo>
                  <a:pt x="12" y="96"/>
                </a:moveTo>
                <a:lnTo>
                  <a:pt x="12" y="48"/>
                </a:lnTo>
                <a:lnTo>
                  <a:pt x="30" y="54"/>
                </a:lnTo>
                <a:lnTo>
                  <a:pt x="96" y="48"/>
                </a:lnTo>
                <a:lnTo>
                  <a:pt x="168" y="30"/>
                </a:lnTo>
                <a:lnTo>
                  <a:pt x="216" y="0"/>
                </a:lnTo>
                <a:lnTo>
                  <a:pt x="216" y="48"/>
                </a:lnTo>
                <a:lnTo>
                  <a:pt x="216" y="102"/>
                </a:lnTo>
                <a:lnTo>
                  <a:pt x="234" y="132"/>
                </a:lnTo>
                <a:lnTo>
                  <a:pt x="252" y="150"/>
                </a:lnTo>
                <a:lnTo>
                  <a:pt x="264" y="174"/>
                </a:lnTo>
                <a:lnTo>
                  <a:pt x="300" y="192"/>
                </a:lnTo>
                <a:lnTo>
                  <a:pt x="330" y="216"/>
                </a:lnTo>
                <a:lnTo>
                  <a:pt x="360" y="240"/>
                </a:lnTo>
                <a:lnTo>
                  <a:pt x="372" y="258"/>
                </a:lnTo>
                <a:lnTo>
                  <a:pt x="330" y="276"/>
                </a:lnTo>
                <a:lnTo>
                  <a:pt x="312" y="288"/>
                </a:lnTo>
                <a:lnTo>
                  <a:pt x="288" y="312"/>
                </a:lnTo>
                <a:lnTo>
                  <a:pt x="258" y="324"/>
                </a:lnTo>
                <a:lnTo>
                  <a:pt x="216" y="318"/>
                </a:lnTo>
                <a:lnTo>
                  <a:pt x="192" y="324"/>
                </a:lnTo>
                <a:lnTo>
                  <a:pt x="162" y="348"/>
                </a:lnTo>
                <a:lnTo>
                  <a:pt x="126" y="348"/>
                </a:lnTo>
                <a:lnTo>
                  <a:pt x="72" y="342"/>
                </a:lnTo>
                <a:lnTo>
                  <a:pt x="42" y="342"/>
                </a:lnTo>
                <a:lnTo>
                  <a:pt x="42" y="312"/>
                </a:lnTo>
                <a:lnTo>
                  <a:pt x="48" y="294"/>
                </a:lnTo>
                <a:lnTo>
                  <a:pt x="30" y="282"/>
                </a:lnTo>
                <a:lnTo>
                  <a:pt x="12" y="276"/>
                </a:lnTo>
                <a:lnTo>
                  <a:pt x="18" y="222"/>
                </a:lnTo>
                <a:lnTo>
                  <a:pt x="0" y="210"/>
                </a:lnTo>
                <a:lnTo>
                  <a:pt x="18" y="186"/>
                </a:lnTo>
                <a:lnTo>
                  <a:pt x="36" y="174"/>
                </a:lnTo>
                <a:lnTo>
                  <a:pt x="30" y="150"/>
                </a:lnTo>
                <a:lnTo>
                  <a:pt x="54" y="132"/>
                </a:lnTo>
                <a:lnTo>
                  <a:pt x="60" y="114"/>
                </a:lnTo>
                <a:lnTo>
                  <a:pt x="12" y="96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17" name="Freeform 59"/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4169215" y="5288743"/>
            <a:ext cx="1102161" cy="1177280"/>
          </a:xfrm>
          <a:custGeom>
            <a:avLst/>
            <a:gdLst>
              <a:gd name="T0" fmla="*/ 2147483647 w 612"/>
              <a:gd name="T1" fmla="*/ 2147483647 h 756"/>
              <a:gd name="T2" fmla="*/ 2147483647 w 612"/>
              <a:gd name="T3" fmla="*/ 2147483647 h 756"/>
              <a:gd name="T4" fmla="*/ 2147483647 w 612"/>
              <a:gd name="T5" fmla="*/ 2147483647 h 756"/>
              <a:gd name="T6" fmla="*/ 2147483647 w 612"/>
              <a:gd name="T7" fmla="*/ 2147483647 h 756"/>
              <a:gd name="T8" fmla="*/ 2147483647 w 612"/>
              <a:gd name="T9" fmla="*/ 2147483647 h 756"/>
              <a:gd name="T10" fmla="*/ 2147483647 w 612"/>
              <a:gd name="T11" fmla="*/ 2147483647 h 756"/>
              <a:gd name="T12" fmla="*/ 2147483647 w 612"/>
              <a:gd name="T13" fmla="*/ 2147483647 h 756"/>
              <a:gd name="T14" fmla="*/ 2147483647 w 612"/>
              <a:gd name="T15" fmla="*/ 2147483647 h 756"/>
              <a:gd name="T16" fmla="*/ 2147483647 w 612"/>
              <a:gd name="T17" fmla="*/ 2147483647 h 756"/>
              <a:gd name="T18" fmla="*/ 2147483647 w 612"/>
              <a:gd name="T19" fmla="*/ 2147483647 h 756"/>
              <a:gd name="T20" fmla="*/ 2147483647 w 612"/>
              <a:gd name="T21" fmla="*/ 2147483647 h 756"/>
              <a:gd name="T22" fmla="*/ 2147483647 w 612"/>
              <a:gd name="T23" fmla="*/ 2147483647 h 756"/>
              <a:gd name="T24" fmla="*/ 2147483647 w 612"/>
              <a:gd name="T25" fmla="*/ 2147483647 h 756"/>
              <a:gd name="T26" fmla="*/ 2147483647 w 612"/>
              <a:gd name="T27" fmla="*/ 2147483647 h 756"/>
              <a:gd name="T28" fmla="*/ 2147483647 w 612"/>
              <a:gd name="T29" fmla="*/ 2147483647 h 756"/>
              <a:gd name="T30" fmla="*/ 2147483647 w 612"/>
              <a:gd name="T31" fmla="*/ 2147483647 h 756"/>
              <a:gd name="T32" fmla="*/ 2147483647 w 612"/>
              <a:gd name="T33" fmla="*/ 2147483647 h 756"/>
              <a:gd name="T34" fmla="*/ 2147483647 w 612"/>
              <a:gd name="T35" fmla="*/ 2147483647 h 756"/>
              <a:gd name="T36" fmla="*/ 2147483647 w 612"/>
              <a:gd name="T37" fmla="*/ 2147483647 h 756"/>
              <a:gd name="T38" fmla="*/ 2147483647 w 612"/>
              <a:gd name="T39" fmla="*/ 2147483647 h 756"/>
              <a:gd name="T40" fmla="*/ 2147483647 w 612"/>
              <a:gd name="T41" fmla="*/ 2147483647 h 756"/>
              <a:gd name="T42" fmla="*/ 2147483647 w 612"/>
              <a:gd name="T43" fmla="*/ 2147483647 h 756"/>
              <a:gd name="T44" fmla="*/ 2147483647 w 612"/>
              <a:gd name="T45" fmla="*/ 2147483647 h 756"/>
              <a:gd name="T46" fmla="*/ 2147483647 w 612"/>
              <a:gd name="T47" fmla="*/ 2147483647 h 756"/>
              <a:gd name="T48" fmla="*/ 2147483647 w 612"/>
              <a:gd name="T49" fmla="*/ 2147483647 h 756"/>
              <a:gd name="T50" fmla="*/ 2147483647 w 612"/>
              <a:gd name="T51" fmla="*/ 2147483647 h 756"/>
              <a:gd name="T52" fmla="*/ 0 w 612"/>
              <a:gd name="T53" fmla="*/ 2147483647 h 756"/>
              <a:gd name="T54" fmla="*/ 2147483647 w 612"/>
              <a:gd name="T55" fmla="*/ 2147483647 h 756"/>
              <a:gd name="T56" fmla="*/ 2147483647 w 612"/>
              <a:gd name="T57" fmla="*/ 2147483647 h 756"/>
              <a:gd name="T58" fmla="*/ 2147483647 w 612"/>
              <a:gd name="T59" fmla="*/ 2147483647 h 756"/>
              <a:gd name="T60" fmla="*/ 2147483647 w 612"/>
              <a:gd name="T61" fmla="*/ 2147483647 h 756"/>
              <a:gd name="T62" fmla="*/ 2147483647 w 612"/>
              <a:gd name="T63" fmla="*/ 2147483647 h 756"/>
              <a:gd name="T64" fmla="*/ 2147483647 w 612"/>
              <a:gd name="T65" fmla="*/ 2147483647 h 756"/>
              <a:gd name="T66" fmla="*/ 2147483647 w 612"/>
              <a:gd name="T67" fmla="*/ 2147483647 h 756"/>
              <a:gd name="T68" fmla="*/ 2147483647 w 612"/>
              <a:gd name="T69" fmla="*/ 2147483647 h 756"/>
              <a:gd name="T70" fmla="*/ 2147483647 w 612"/>
              <a:gd name="T71" fmla="*/ 2147483647 h 756"/>
              <a:gd name="T72" fmla="*/ 2147483647 w 612"/>
              <a:gd name="T73" fmla="*/ 0 h 756"/>
              <a:gd name="T74" fmla="*/ 2147483647 w 612"/>
              <a:gd name="T75" fmla="*/ 2147483647 h 756"/>
              <a:gd name="T76" fmla="*/ 2147483647 w 612"/>
              <a:gd name="T77" fmla="*/ 2147483647 h 756"/>
              <a:gd name="T78" fmla="*/ 2147483647 w 612"/>
              <a:gd name="T79" fmla="*/ 2147483647 h 756"/>
              <a:gd name="T80" fmla="*/ 2147483647 w 612"/>
              <a:gd name="T81" fmla="*/ 2147483647 h 756"/>
              <a:gd name="T82" fmla="*/ 2147483647 w 612"/>
              <a:gd name="T83" fmla="*/ 2147483647 h 75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2" h="756">
                <a:moveTo>
                  <a:pt x="516" y="756"/>
                </a:moveTo>
                <a:lnTo>
                  <a:pt x="510" y="756"/>
                </a:lnTo>
                <a:lnTo>
                  <a:pt x="504" y="756"/>
                </a:lnTo>
                <a:lnTo>
                  <a:pt x="498" y="750"/>
                </a:lnTo>
                <a:lnTo>
                  <a:pt x="492" y="750"/>
                </a:lnTo>
                <a:lnTo>
                  <a:pt x="486" y="750"/>
                </a:lnTo>
                <a:lnTo>
                  <a:pt x="474" y="750"/>
                </a:lnTo>
                <a:lnTo>
                  <a:pt x="462" y="750"/>
                </a:lnTo>
                <a:lnTo>
                  <a:pt x="456" y="744"/>
                </a:lnTo>
                <a:lnTo>
                  <a:pt x="456" y="738"/>
                </a:lnTo>
                <a:lnTo>
                  <a:pt x="450" y="738"/>
                </a:lnTo>
                <a:lnTo>
                  <a:pt x="450" y="732"/>
                </a:lnTo>
                <a:lnTo>
                  <a:pt x="444" y="732"/>
                </a:lnTo>
                <a:lnTo>
                  <a:pt x="444" y="726"/>
                </a:lnTo>
                <a:lnTo>
                  <a:pt x="444" y="720"/>
                </a:lnTo>
                <a:lnTo>
                  <a:pt x="438" y="714"/>
                </a:lnTo>
                <a:lnTo>
                  <a:pt x="432" y="702"/>
                </a:lnTo>
                <a:lnTo>
                  <a:pt x="426" y="696"/>
                </a:lnTo>
                <a:lnTo>
                  <a:pt x="426" y="678"/>
                </a:lnTo>
                <a:lnTo>
                  <a:pt x="426" y="666"/>
                </a:lnTo>
                <a:lnTo>
                  <a:pt x="426" y="654"/>
                </a:lnTo>
                <a:lnTo>
                  <a:pt x="426" y="648"/>
                </a:lnTo>
                <a:lnTo>
                  <a:pt x="420" y="642"/>
                </a:lnTo>
                <a:lnTo>
                  <a:pt x="408" y="636"/>
                </a:lnTo>
                <a:lnTo>
                  <a:pt x="396" y="624"/>
                </a:lnTo>
                <a:lnTo>
                  <a:pt x="390" y="618"/>
                </a:lnTo>
                <a:lnTo>
                  <a:pt x="390" y="612"/>
                </a:lnTo>
                <a:lnTo>
                  <a:pt x="384" y="612"/>
                </a:lnTo>
                <a:lnTo>
                  <a:pt x="384" y="606"/>
                </a:lnTo>
                <a:lnTo>
                  <a:pt x="378" y="606"/>
                </a:lnTo>
                <a:lnTo>
                  <a:pt x="372" y="600"/>
                </a:lnTo>
                <a:lnTo>
                  <a:pt x="354" y="600"/>
                </a:lnTo>
                <a:lnTo>
                  <a:pt x="348" y="594"/>
                </a:lnTo>
                <a:lnTo>
                  <a:pt x="342" y="600"/>
                </a:lnTo>
                <a:lnTo>
                  <a:pt x="330" y="600"/>
                </a:lnTo>
                <a:lnTo>
                  <a:pt x="318" y="606"/>
                </a:lnTo>
                <a:lnTo>
                  <a:pt x="312" y="606"/>
                </a:lnTo>
                <a:lnTo>
                  <a:pt x="306" y="606"/>
                </a:lnTo>
                <a:lnTo>
                  <a:pt x="294" y="606"/>
                </a:lnTo>
                <a:lnTo>
                  <a:pt x="282" y="612"/>
                </a:lnTo>
                <a:lnTo>
                  <a:pt x="270" y="624"/>
                </a:lnTo>
                <a:lnTo>
                  <a:pt x="246" y="642"/>
                </a:lnTo>
                <a:lnTo>
                  <a:pt x="228" y="648"/>
                </a:lnTo>
                <a:lnTo>
                  <a:pt x="216" y="654"/>
                </a:lnTo>
                <a:lnTo>
                  <a:pt x="198" y="666"/>
                </a:lnTo>
                <a:lnTo>
                  <a:pt x="186" y="654"/>
                </a:lnTo>
                <a:lnTo>
                  <a:pt x="162" y="636"/>
                </a:lnTo>
                <a:lnTo>
                  <a:pt x="120" y="624"/>
                </a:lnTo>
                <a:lnTo>
                  <a:pt x="72" y="594"/>
                </a:lnTo>
                <a:lnTo>
                  <a:pt x="42" y="546"/>
                </a:lnTo>
                <a:lnTo>
                  <a:pt x="30" y="510"/>
                </a:lnTo>
                <a:lnTo>
                  <a:pt x="30" y="474"/>
                </a:lnTo>
                <a:lnTo>
                  <a:pt x="24" y="432"/>
                </a:lnTo>
                <a:lnTo>
                  <a:pt x="0" y="402"/>
                </a:lnTo>
                <a:lnTo>
                  <a:pt x="24" y="378"/>
                </a:lnTo>
                <a:lnTo>
                  <a:pt x="60" y="342"/>
                </a:lnTo>
                <a:lnTo>
                  <a:pt x="114" y="330"/>
                </a:lnTo>
                <a:lnTo>
                  <a:pt x="174" y="294"/>
                </a:lnTo>
                <a:lnTo>
                  <a:pt x="168" y="276"/>
                </a:lnTo>
                <a:lnTo>
                  <a:pt x="150" y="270"/>
                </a:lnTo>
                <a:lnTo>
                  <a:pt x="174" y="258"/>
                </a:lnTo>
                <a:lnTo>
                  <a:pt x="222" y="252"/>
                </a:lnTo>
                <a:lnTo>
                  <a:pt x="246" y="222"/>
                </a:lnTo>
                <a:lnTo>
                  <a:pt x="264" y="204"/>
                </a:lnTo>
                <a:lnTo>
                  <a:pt x="300" y="204"/>
                </a:lnTo>
                <a:lnTo>
                  <a:pt x="318" y="180"/>
                </a:lnTo>
                <a:lnTo>
                  <a:pt x="336" y="156"/>
                </a:lnTo>
                <a:lnTo>
                  <a:pt x="366" y="138"/>
                </a:lnTo>
                <a:lnTo>
                  <a:pt x="390" y="108"/>
                </a:lnTo>
                <a:lnTo>
                  <a:pt x="408" y="84"/>
                </a:lnTo>
                <a:lnTo>
                  <a:pt x="444" y="72"/>
                </a:lnTo>
                <a:lnTo>
                  <a:pt x="498" y="36"/>
                </a:lnTo>
                <a:lnTo>
                  <a:pt x="522" y="6"/>
                </a:lnTo>
                <a:lnTo>
                  <a:pt x="546" y="0"/>
                </a:lnTo>
                <a:lnTo>
                  <a:pt x="582" y="0"/>
                </a:lnTo>
                <a:lnTo>
                  <a:pt x="576" y="24"/>
                </a:lnTo>
                <a:lnTo>
                  <a:pt x="576" y="54"/>
                </a:lnTo>
                <a:lnTo>
                  <a:pt x="588" y="84"/>
                </a:lnTo>
                <a:lnTo>
                  <a:pt x="606" y="120"/>
                </a:lnTo>
                <a:lnTo>
                  <a:pt x="612" y="198"/>
                </a:lnTo>
                <a:lnTo>
                  <a:pt x="600" y="288"/>
                </a:lnTo>
                <a:lnTo>
                  <a:pt x="546" y="582"/>
                </a:lnTo>
                <a:lnTo>
                  <a:pt x="558" y="618"/>
                </a:lnTo>
                <a:lnTo>
                  <a:pt x="516" y="756"/>
                </a:lnTo>
                <a:close/>
              </a:path>
            </a:pathLst>
          </a:custGeom>
          <a:solidFill>
            <a:srgbClr val="FF000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8" name="Freeform 60" descr="Light downward diagonal"/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239126" y="3898748"/>
            <a:ext cx="702376" cy="614312"/>
          </a:xfrm>
          <a:custGeom>
            <a:avLst/>
            <a:gdLst>
              <a:gd name="T0" fmla="*/ 2147483647 w 390"/>
              <a:gd name="T1" fmla="*/ 2147483647 h 396"/>
              <a:gd name="T2" fmla="*/ 2147483647 w 390"/>
              <a:gd name="T3" fmla="*/ 2147483647 h 396"/>
              <a:gd name="T4" fmla="*/ 2147483647 w 390"/>
              <a:gd name="T5" fmla="*/ 2147483647 h 396"/>
              <a:gd name="T6" fmla="*/ 2147483647 w 390"/>
              <a:gd name="T7" fmla="*/ 2147483647 h 396"/>
              <a:gd name="T8" fmla="*/ 2147483647 w 390"/>
              <a:gd name="T9" fmla="*/ 2147483647 h 396"/>
              <a:gd name="T10" fmla="*/ 2147483647 w 390"/>
              <a:gd name="T11" fmla="*/ 2147483647 h 396"/>
              <a:gd name="T12" fmla="*/ 2147483647 w 390"/>
              <a:gd name="T13" fmla="*/ 2147483647 h 396"/>
              <a:gd name="T14" fmla="*/ 2147483647 w 390"/>
              <a:gd name="T15" fmla="*/ 2147483647 h 396"/>
              <a:gd name="T16" fmla="*/ 2147483647 w 390"/>
              <a:gd name="T17" fmla="*/ 2147483647 h 396"/>
              <a:gd name="T18" fmla="*/ 2147483647 w 390"/>
              <a:gd name="T19" fmla="*/ 2147483647 h 396"/>
              <a:gd name="T20" fmla="*/ 2147483647 w 390"/>
              <a:gd name="T21" fmla="*/ 2147483647 h 396"/>
              <a:gd name="T22" fmla="*/ 2147483647 w 390"/>
              <a:gd name="T23" fmla="*/ 2147483647 h 396"/>
              <a:gd name="T24" fmla="*/ 2147483647 w 390"/>
              <a:gd name="T25" fmla="*/ 2147483647 h 396"/>
              <a:gd name="T26" fmla="*/ 2147483647 w 390"/>
              <a:gd name="T27" fmla="*/ 2147483647 h 396"/>
              <a:gd name="T28" fmla="*/ 2147483647 w 390"/>
              <a:gd name="T29" fmla="*/ 2147483647 h 396"/>
              <a:gd name="T30" fmla="*/ 2147483647 w 390"/>
              <a:gd name="T31" fmla="*/ 2147483647 h 396"/>
              <a:gd name="T32" fmla="*/ 2147483647 w 390"/>
              <a:gd name="T33" fmla="*/ 2147483647 h 396"/>
              <a:gd name="T34" fmla="*/ 2147483647 w 390"/>
              <a:gd name="T35" fmla="*/ 2147483647 h 396"/>
              <a:gd name="T36" fmla="*/ 2147483647 w 390"/>
              <a:gd name="T37" fmla="*/ 2147483647 h 396"/>
              <a:gd name="T38" fmla="*/ 2147483647 w 390"/>
              <a:gd name="T39" fmla="*/ 2147483647 h 396"/>
              <a:gd name="T40" fmla="*/ 2147483647 w 390"/>
              <a:gd name="T41" fmla="*/ 2147483647 h 396"/>
              <a:gd name="T42" fmla="*/ 2147483647 w 390"/>
              <a:gd name="T43" fmla="*/ 2147483647 h 396"/>
              <a:gd name="T44" fmla="*/ 2147483647 w 390"/>
              <a:gd name="T45" fmla="*/ 2147483647 h 396"/>
              <a:gd name="T46" fmla="*/ 2147483647 w 390"/>
              <a:gd name="T47" fmla="*/ 2147483647 h 396"/>
              <a:gd name="T48" fmla="*/ 2147483647 w 390"/>
              <a:gd name="T49" fmla="*/ 2147483647 h 396"/>
              <a:gd name="T50" fmla="*/ 2147483647 w 390"/>
              <a:gd name="T51" fmla="*/ 2147483647 h 396"/>
              <a:gd name="T52" fmla="*/ 2147483647 w 390"/>
              <a:gd name="T53" fmla="*/ 2147483647 h 396"/>
              <a:gd name="T54" fmla="*/ 2147483647 w 390"/>
              <a:gd name="T55" fmla="*/ 2147483647 h 396"/>
              <a:gd name="T56" fmla="*/ 2147483647 w 390"/>
              <a:gd name="T57" fmla="*/ 2147483647 h 396"/>
              <a:gd name="T58" fmla="*/ 2147483647 w 390"/>
              <a:gd name="T59" fmla="*/ 2147483647 h 396"/>
              <a:gd name="T60" fmla="*/ 2147483647 w 390"/>
              <a:gd name="T61" fmla="*/ 2147483647 h 396"/>
              <a:gd name="T62" fmla="*/ 2147483647 w 390"/>
              <a:gd name="T63" fmla="*/ 2147483647 h 396"/>
              <a:gd name="T64" fmla="*/ 2147483647 w 390"/>
              <a:gd name="T65" fmla="*/ 2147483647 h 396"/>
              <a:gd name="T66" fmla="*/ 2147483647 w 390"/>
              <a:gd name="T67" fmla="*/ 2147483647 h 396"/>
              <a:gd name="T68" fmla="*/ 2147483647 w 390"/>
              <a:gd name="T69" fmla="*/ 2147483647 h 396"/>
              <a:gd name="T70" fmla="*/ 2147483647 w 390"/>
              <a:gd name="T71" fmla="*/ 2147483647 h 396"/>
              <a:gd name="T72" fmla="*/ 2147483647 w 390"/>
              <a:gd name="T73" fmla="*/ 2147483647 h 396"/>
              <a:gd name="T74" fmla="*/ 2147483647 w 390"/>
              <a:gd name="T75" fmla="*/ 2147483647 h 396"/>
              <a:gd name="T76" fmla="*/ 2147483647 w 390"/>
              <a:gd name="T77" fmla="*/ 2147483647 h 396"/>
              <a:gd name="T78" fmla="*/ 2147483647 w 390"/>
              <a:gd name="T79" fmla="*/ 2147483647 h 396"/>
              <a:gd name="T80" fmla="*/ 2147483647 w 390"/>
              <a:gd name="T81" fmla="*/ 2147483647 h 396"/>
              <a:gd name="T82" fmla="*/ 0 w 390"/>
              <a:gd name="T83" fmla="*/ 2147483647 h 396"/>
              <a:gd name="T84" fmla="*/ 0 w 390"/>
              <a:gd name="T85" fmla="*/ 2147483647 h 39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90" h="396">
                <a:moveTo>
                  <a:pt x="0" y="96"/>
                </a:moveTo>
                <a:lnTo>
                  <a:pt x="30" y="72"/>
                </a:lnTo>
                <a:lnTo>
                  <a:pt x="54" y="36"/>
                </a:lnTo>
                <a:lnTo>
                  <a:pt x="102" y="24"/>
                </a:lnTo>
                <a:lnTo>
                  <a:pt x="138" y="18"/>
                </a:lnTo>
                <a:lnTo>
                  <a:pt x="162" y="12"/>
                </a:lnTo>
                <a:lnTo>
                  <a:pt x="180" y="0"/>
                </a:lnTo>
                <a:lnTo>
                  <a:pt x="186" y="18"/>
                </a:lnTo>
                <a:lnTo>
                  <a:pt x="198" y="42"/>
                </a:lnTo>
                <a:lnTo>
                  <a:pt x="210" y="60"/>
                </a:lnTo>
                <a:lnTo>
                  <a:pt x="216" y="84"/>
                </a:lnTo>
                <a:lnTo>
                  <a:pt x="216" y="120"/>
                </a:lnTo>
                <a:lnTo>
                  <a:pt x="264" y="138"/>
                </a:lnTo>
                <a:lnTo>
                  <a:pt x="270" y="162"/>
                </a:lnTo>
                <a:lnTo>
                  <a:pt x="312" y="174"/>
                </a:lnTo>
                <a:lnTo>
                  <a:pt x="336" y="174"/>
                </a:lnTo>
                <a:lnTo>
                  <a:pt x="360" y="192"/>
                </a:lnTo>
                <a:lnTo>
                  <a:pt x="372" y="222"/>
                </a:lnTo>
                <a:lnTo>
                  <a:pt x="390" y="252"/>
                </a:lnTo>
                <a:lnTo>
                  <a:pt x="384" y="252"/>
                </a:lnTo>
                <a:lnTo>
                  <a:pt x="384" y="258"/>
                </a:lnTo>
                <a:lnTo>
                  <a:pt x="378" y="258"/>
                </a:lnTo>
                <a:lnTo>
                  <a:pt x="378" y="264"/>
                </a:lnTo>
                <a:lnTo>
                  <a:pt x="378" y="270"/>
                </a:lnTo>
                <a:lnTo>
                  <a:pt x="378" y="276"/>
                </a:lnTo>
                <a:lnTo>
                  <a:pt x="366" y="288"/>
                </a:lnTo>
                <a:lnTo>
                  <a:pt x="372" y="288"/>
                </a:lnTo>
                <a:lnTo>
                  <a:pt x="372" y="294"/>
                </a:lnTo>
                <a:lnTo>
                  <a:pt x="366" y="300"/>
                </a:lnTo>
                <a:lnTo>
                  <a:pt x="360" y="306"/>
                </a:lnTo>
                <a:lnTo>
                  <a:pt x="354" y="306"/>
                </a:lnTo>
                <a:lnTo>
                  <a:pt x="354" y="300"/>
                </a:lnTo>
                <a:lnTo>
                  <a:pt x="354" y="294"/>
                </a:lnTo>
                <a:lnTo>
                  <a:pt x="348" y="294"/>
                </a:lnTo>
                <a:lnTo>
                  <a:pt x="348" y="300"/>
                </a:lnTo>
                <a:lnTo>
                  <a:pt x="342" y="300"/>
                </a:lnTo>
                <a:lnTo>
                  <a:pt x="342" y="306"/>
                </a:lnTo>
                <a:lnTo>
                  <a:pt x="336" y="306"/>
                </a:lnTo>
                <a:lnTo>
                  <a:pt x="330" y="306"/>
                </a:lnTo>
                <a:lnTo>
                  <a:pt x="324" y="306"/>
                </a:lnTo>
                <a:lnTo>
                  <a:pt x="324" y="312"/>
                </a:lnTo>
                <a:lnTo>
                  <a:pt x="318" y="312"/>
                </a:lnTo>
                <a:lnTo>
                  <a:pt x="318" y="318"/>
                </a:lnTo>
                <a:lnTo>
                  <a:pt x="312" y="318"/>
                </a:lnTo>
                <a:lnTo>
                  <a:pt x="312" y="324"/>
                </a:lnTo>
                <a:lnTo>
                  <a:pt x="312" y="330"/>
                </a:lnTo>
                <a:lnTo>
                  <a:pt x="312" y="336"/>
                </a:lnTo>
                <a:lnTo>
                  <a:pt x="306" y="336"/>
                </a:lnTo>
                <a:lnTo>
                  <a:pt x="300" y="330"/>
                </a:lnTo>
                <a:lnTo>
                  <a:pt x="300" y="336"/>
                </a:lnTo>
                <a:lnTo>
                  <a:pt x="300" y="342"/>
                </a:lnTo>
                <a:lnTo>
                  <a:pt x="294" y="342"/>
                </a:lnTo>
                <a:lnTo>
                  <a:pt x="294" y="348"/>
                </a:lnTo>
                <a:lnTo>
                  <a:pt x="300" y="354"/>
                </a:lnTo>
                <a:lnTo>
                  <a:pt x="294" y="354"/>
                </a:lnTo>
                <a:lnTo>
                  <a:pt x="288" y="354"/>
                </a:lnTo>
                <a:lnTo>
                  <a:pt x="282" y="354"/>
                </a:lnTo>
                <a:lnTo>
                  <a:pt x="282" y="360"/>
                </a:lnTo>
                <a:lnTo>
                  <a:pt x="282" y="366"/>
                </a:lnTo>
                <a:lnTo>
                  <a:pt x="276" y="366"/>
                </a:lnTo>
                <a:lnTo>
                  <a:pt x="270" y="366"/>
                </a:lnTo>
                <a:lnTo>
                  <a:pt x="264" y="366"/>
                </a:lnTo>
                <a:lnTo>
                  <a:pt x="240" y="366"/>
                </a:lnTo>
                <a:lnTo>
                  <a:pt x="204" y="372"/>
                </a:lnTo>
                <a:lnTo>
                  <a:pt x="138" y="396"/>
                </a:lnTo>
                <a:lnTo>
                  <a:pt x="138" y="378"/>
                </a:lnTo>
                <a:lnTo>
                  <a:pt x="138" y="354"/>
                </a:lnTo>
                <a:lnTo>
                  <a:pt x="138" y="324"/>
                </a:lnTo>
                <a:lnTo>
                  <a:pt x="150" y="306"/>
                </a:lnTo>
                <a:lnTo>
                  <a:pt x="126" y="294"/>
                </a:lnTo>
                <a:lnTo>
                  <a:pt x="90" y="288"/>
                </a:lnTo>
                <a:lnTo>
                  <a:pt x="84" y="264"/>
                </a:lnTo>
                <a:lnTo>
                  <a:pt x="78" y="240"/>
                </a:lnTo>
                <a:lnTo>
                  <a:pt x="60" y="240"/>
                </a:lnTo>
                <a:lnTo>
                  <a:pt x="42" y="288"/>
                </a:lnTo>
                <a:lnTo>
                  <a:pt x="24" y="288"/>
                </a:lnTo>
                <a:lnTo>
                  <a:pt x="0" y="282"/>
                </a:lnTo>
                <a:lnTo>
                  <a:pt x="6" y="264"/>
                </a:lnTo>
                <a:lnTo>
                  <a:pt x="18" y="258"/>
                </a:lnTo>
                <a:lnTo>
                  <a:pt x="30" y="228"/>
                </a:lnTo>
                <a:lnTo>
                  <a:pt x="24" y="204"/>
                </a:lnTo>
                <a:lnTo>
                  <a:pt x="30" y="162"/>
                </a:lnTo>
                <a:lnTo>
                  <a:pt x="6" y="168"/>
                </a:lnTo>
                <a:lnTo>
                  <a:pt x="0" y="150"/>
                </a:lnTo>
                <a:lnTo>
                  <a:pt x="12" y="126"/>
                </a:lnTo>
                <a:lnTo>
                  <a:pt x="0" y="114"/>
                </a:lnTo>
                <a:lnTo>
                  <a:pt x="0" y="96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19" name="Freeform 61"/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737182" y="4738613"/>
            <a:ext cx="551997" cy="410764"/>
          </a:xfrm>
          <a:custGeom>
            <a:avLst/>
            <a:gdLst>
              <a:gd name="T0" fmla="*/ 2147483647 w 306"/>
              <a:gd name="T1" fmla="*/ 2147483647 h 264"/>
              <a:gd name="T2" fmla="*/ 0 w 306"/>
              <a:gd name="T3" fmla="*/ 2147483647 h 264"/>
              <a:gd name="T4" fmla="*/ 2147483647 w 306"/>
              <a:gd name="T5" fmla="*/ 2147483647 h 264"/>
              <a:gd name="T6" fmla="*/ 2147483647 w 306"/>
              <a:gd name="T7" fmla="*/ 2147483647 h 264"/>
              <a:gd name="T8" fmla="*/ 2147483647 w 306"/>
              <a:gd name="T9" fmla="*/ 2147483647 h 264"/>
              <a:gd name="T10" fmla="*/ 2147483647 w 306"/>
              <a:gd name="T11" fmla="*/ 2147483647 h 264"/>
              <a:gd name="T12" fmla="*/ 2147483647 w 306"/>
              <a:gd name="T13" fmla="*/ 2147483647 h 264"/>
              <a:gd name="T14" fmla="*/ 2147483647 w 306"/>
              <a:gd name="T15" fmla="*/ 2147483647 h 264"/>
              <a:gd name="T16" fmla="*/ 2147483647 w 306"/>
              <a:gd name="T17" fmla="*/ 2147483647 h 264"/>
              <a:gd name="T18" fmla="*/ 2147483647 w 306"/>
              <a:gd name="T19" fmla="*/ 2147483647 h 264"/>
              <a:gd name="T20" fmla="*/ 2147483647 w 306"/>
              <a:gd name="T21" fmla="*/ 2147483647 h 264"/>
              <a:gd name="T22" fmla="*/ 2147483647 w 306"/>
              <a:gd name="T23" fmla="*/ 0 h 264"/>
              <a:gd name="T24" fmla="*/ 2147483647 w 306"/>
              <a:gd name="T25" fmla="*/ 0 h 264"/>
              <a:gd name="T26" fmla="*/ 2147483647 w 306"/>
              <a:gd name="T27" fmla="*/ 2147483647 h 264"/>
              <a:gd name="T28" fmla="*/ 2147483647 w 306"/>
              <a:gd name="T29" fmla="*/ 2147483647 h 264"/>
              <a:gd name="T30" fmla="*/ 2147483647 w 306"/>
              <a:gd name="T31" fmla="*/ 2147483647 h 264"/>
              <a:gd name="T32" fmla="*/ 2147483647 w 306"/>
              <a:gd name="T33" fmla="*/ 2147483647 h 264"/>
              <a:gd name="T34" fmla="*/ 2147483647 w 306"/>
              <a:gd name="T35" fmla="*/ 2147483647 h 264"/>
              <a:gd name="T36" fmla="*/ 2147483647 w 306"/>
              <a:gd name="T37" fmla="*/ 2147483647 h 264"/>
              <a:gd name="T38" fmla="*/ 2147483647 w 306"/>
              <a:gd name="T39" fmla="*/ 2147483647 h 264"/>
              <a:gd name="T40" fmla="*/ 2147483647 w 306"/>
              <a:gd name="T41" fmla="*/ 2147483647 h 264"/>
              <a:gd name="T42" fmla="*/ 2147483647 w 306"/>
              <a:gd name="T43" fmla="*/ 2147483647 h 264"/>
              <a:gd name="T44" fmla="*/ 2147483647 w 306"/>
              <a:gd name="T45" fmla="*/ 2147483647 h 264"/>
              <a:gd name="T46" fmla="*/ 2147483647 w 306"/>
              <a:gd name="T47" fmla="*/ 2147483647 h 264"/>
              <a:gd name="T48" fmla="*/ 2147483647 w 306"/>
              <a:gd name="T49" fmla="*/ 2147483647 h 264"/>
              <a:gd name="T50" fmla="*/ 2147483647 w 306"/>
              <a:gd name="T51" fmla="*/ 2147483647 h 264"/>
              <a:gd name="T52" fmla="*/ 2147483647 w 306"/>
              <a:gd name="T53" fmla="*/ 2147483647 h 264"/>
              <a:gd name="T54" fmla="*/ 2147483647 w 306"/>
              <a:gd name="T55" fmla="*/ 2147483647 h 264"/>
              <a:gd name="T56" fmla="*/ 2147483647 w 306"/>
              <a:gd name="T57" fmla="*/ 2147483647 h 26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306" h="264">
                <a:moveTo>
                  <a:pt x="6" y="258"/>
                </a:moveTo>
                <a:lnTo>
                  <a:pt x="0" y="210"/>
                </a:lnTo>
                <a:lnTo>
                  <a:pt x="12" y="168"/>
                </a:lnTo>
                <a:lnTo>
                  <a:pt x="36" y="138"/>
                </a:lnTo>
                <a:lnTo>
                  <a:pt x="24" y="114"/>
                </a:lnTo>
                <a:lnTo>
                  <a:pt x="24" y="96"/>
                </a:lnTo>
                <a:lnTo>
                  <a:pt x="24" y="72"/>
                </a:lnTo>
                <a:lnTo>
                  <a:pt x="72" y="36"/>
                </a:lnTo>
                <a:lnTo>
                  <a:pt x="72" y="18"/>
                </a:lnTo>
                <a:lnTo>
                  <a:pt x="90" y="12"/>
                </a:lnTo>
                <a:lnTo>
                  <a:pt x="114" y="12"/>
                </a:lnTo>
                <a:lnTo>
                  <a:pt x="138" y="0"/>
                </a:lnTo>
                <a:lnTo>
                  <a:pt x="162" y="0"/>
                </a:lnTo>
                <a:lnTo>
                  <a:pt x="198" y="12"/>
                </a:lnTo>
                <a:lnTo>
                  <a:pt x="234" y="30"/>
                </a:lnTo>
                <a:lnTo>
                  <a:pt x="270" y="42"/>
                </a:lnTo>
                <a:lnTo>
                  <a:pt x="288" y="60"/>
                </a:lnTo>
                <a:lnTo>
                  <a:pt x="288" y="96"/>
                </a:lnTo>
                <a:lnTo>
                  <a:pt x="294" y="132"/>
                </a:lnTo>
                <a:lnTo>
                  <a:pt x="294" y="156"/>
                </a:lnTo>
                <a:lnTo>
                  <a:pt x="306" y="180"/>
                </a:lnTo>
                <a:lnTo>
                  <a:pt x="288" y="198"/>
                </a:lnTo>
                <a:lnTo>
                  <a:pt x="258" y="210"/>
                </a:lnTo>
                <a:lnTo>
                  <a:pt x="186" y="216"/>
                </a:lnTo>
                <a:lnTo>
                  <a:pt x="114" y="222"/>
                </a:lnTo>
                <a:lnTo>
                  <a:pt x="96" y="240"/>
                </a:lnTo>
                <a:lnTo>
                  <a:pt x="60" y="252"/>
                </a:lnTo>
                <a:lnTo>
                  <a:pt x="24" y="264"/>
                </a:lnTo>
                <a:lnTo>
                  <a:pt x="6" y="258"/>
                </a:lnTo>
                <a:close/>
              </a:path>
            </a:pathLst>
          </a:custGeom>
          <a:pattFill prst="wdUpDiag">
            <a:fgClr>
              <a:srgbClr val="FF0000"/>
            </a:fgClr>
            <a:bgClr>
              <a:srgbClr val="FF9900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20" name="Freeform 62"/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6934703" y="1830256"/>
            <a:ext cx="735385" cy="606977"/>
          </a:xfrm>
          <a:custGeom>
            <a:avLst/>
            <a:gdLst>
              <a:gd name="T0" fmla="*/ 2147483647 w 408"/>
              <a:gd name="T1" fmla="*/ 2147483647 h 390"/>
              <a:gd name="T2" fmla="*/ 2147483647 w 408"/>
              <a:gd name="T3" fmla="*/ 2147483647 h 390"/>
              <a:gd name="T4" fmla="*/ 2147483647 w 408"/>
              <a:gd name="T5" fmla="*/ 2147483647 h 390"/>
              <a:gd name="T6" fmla="*/ 2147483647 w 408"/>
              <a:gd name="T7" fmla="*/ 2147483647 h 390"/>
              <a:gd name="T8" fmla="*/ 2147483647 w 408"/>
              <a:gd name="T9" fmla="*/ 2147483647 h 390"/>
              <a:gd name="T10" fmla="*/ 2147483647 w 408"/>
              <a:gd name="T11" fmla="*/ 2147483647 h 390"/>
              <a:gd name="T12" fmla="*/ 2147483647 w 408"/>
              <a:gd name="T13" fmla="*/ 2147483647 h 390"/>
              <a:gd name="T14" fmla="*/ 2147483647 w 408"/>
              <a:gd name="T15" fmla="*/ 2147483647 h 390"/>
              <a:gd name="T16" fmla="*/ 2147483647 w 408"/>
              <a:gd name="T17" fmla="*/ 2147483647 h 390"/>
              <a:gd name="T18" fmla="*/ 2147483647 w 408"/>
              <a:gd name="T19" fmla="*/ 2147483647 h 390"/>
              <a:gd name="T20" fmla="*/ 2147483647 w 408"/>
              <a:gd name="T21" fmla="*/ 2147483647 h 390"/>
              <a:gd name="T22" fmla="*/ 2147483647 w 408"/>
              <a:gd name="T23" fmla="*/ 2147483647 h 390"/>
              <a:gd name="T24" fmla="*/ 2147483647 w 408"/>
              <a:gd name="T25" fmla="*/ 2147483647 h 390"/>
              <a:gd name="T26" fmla="*/ 2147483647 w 408"/>
              <a:gd name="T27" fmla="*/ 2147483647 h 390"/>
              <a:gd name="T28" fmla="*/ 2147483647 w 408"/>
              <a:gd name="T29" fmla="*/ 2147483647 h 390"/>
              <a:gd name="T30" fmla="*/ 2147483647 w 408"/>
              <a:gd name="T31" fmla="*/ 2147483647 h 390"/>
              <a:gd name="T32" fmla="*/ 2147483647 w 408"/>
              <a:gd name="T33" fmla="*/ 2147483647 h 390"/>
              <a:gd name="T34" fmla="*/ 2147483647 w 408"/>
              <a:gd name="T35" fmla="*/ 2147483647 h 390"/>
              <a:gd name="T36" fmla="*/ 2147483647 w 408"/>
              <a:gd name="T37" fmla="*/ 2147483647 h 390"/>
              <a:gd name="T38" fmla="*/ 2147483647 w 408"/>
              <a:gd name="T39" fmla="*/ 2147483647 h 390"/>
              <a:gd name="T40" fmla="*/ 2147483647 w 408"/>
              <a:gd name="T41" fmla="*/ 2147483647 h 390"/>
              <a:gd name="T42" fmla="*/ 2147483647 w 408"/>
              <a:gd name="T43" fmla="*/ 2147483647 h 390"/>
              <a:gd name="T44" fmla="*/ 2147483647 w 408"/>
              <a:gd name="T45" fmla="*/ 2147483647 h 390"/>
              <a:gd name="T46" fmla="*/ 2147483647 w 408"/>
              <a:gd name="T47" fmla="*/ 2147483647 h 390"/>
              <a:gd name="T48" fmla="*/ 2147483647 w 408"/>
              <a:gd name="T49" fmla="*/ 2147483647 h 390"/>
              <a:gd name="T50" fmla="*/ 2147483647 w 408"/>
              <a:gd name="T51" fmla="*/ 2147483647 h 390"/>
              <a:gd name="T52" fmla="*/ 2147483647 w 408"/>
              <a:gd name="T53" fmla="*/ 2147483647 h 390"/>
              <a:gd name="T54" fmla="*/ 2147483647 w 408"/>
              <a:gd name="T55" fmla="*/ 2147483647 h 390"/>
              <a:gd name="T56" fmla="*/ 2147483647 w 408"/>
              <a:gd name="T57" fmla="*/ 2147483647 h 390"/>
              <a:gd name="T58" fmla="*/ 2147483647 w 408"/>
              <a:gd name="T59" fmla="*/ 2147483647 h 390"/>
              <a:gd name="T60" fmla="*/ 2147483647 w 408"/>
              <a:gd name="T61" fmla="*/ 2147483647 h 390"/>
              <a:gd name="T62" fmla="*/ 2147483647 w 408"/>
              <a:gd name="T63" fmla="*/ 2147483647 h 390"/>
              <a:gd name="T64" fmla="*/ 2147483647 w 408"/>
              <a:gd name="T65" fmla="*/ 2147483647 h 390"/>
              <a:gd name="T66" fmla="*/ 2147483647 w 408"/>
              <a:gd name="T67" fmla="*/ 2147483647 h 390"/>
              <a:gd name="T68" fmla="*/ 2147483647 w 408"/>
              <a:gd name="T69" fmla="*/ 2147483647 h 390"/>
              <a:gd name="T70" fmla="*/ 2147483647 w 408"/>
              <a:gd name="T71" fmla="*/ 2147483647 h 390"/>
              <a:gd name="T72" fmla="*/ 2147483647 w 408"/>
              <a:gd name="T73" fmla="*/ 2147483647 h 390"/>
              <a:gd name="T74" fmla="*/ 2147483647 w 408"/>
              <a:gd name="T75" fmla="*/ 2147483647 h 390"/>
              <a:gd name="T76" fmla="*/ 2147483647 w 408"/>
              <a:gd name="T77" fmla="*/ 2147483647 h 390"/>
              <a:gd name="T78" fmla="*/ 2147483647 w 408"/>
              <a:gd name="T79" fmla="*/ 2147483647 h 390"/>
              <a:gd name="T80" fmla="*/ 2147483647 w 408"/>
              <a:gd name="T81" fmla="*/ 2147483647 h 390"/>
              <a:gd name="T82" fmla="*/ 2147483647 w 408"/>
              <a:gd name="T83" fmla="*/ 2147483647 h 390"/>
              <a:gd name="T84" fmla="*/ 2147483647 w 408"/>
              <a:gd name="T85" fmla="*/ 2147483647 h 390"/>
              <a:gd name="T86" fmla="*/ 2147483647 w 408"/>
              <a:gd name="T87" fmla="*/ 2147483647 h 390"/>
              <a:gd name="T88" fmla="*/ 2147483647 w 408"/>
              <a:gd name="T89" fmla="*/ 2147483647 h 390"/>
              <a:gd name="T90" fmla="*/ 2147483647 w 408"/>
              <a:gd name="T91" fmla="*/ 2147483647 h 390"/>
              <a:gd name="T92" fmla="*/ 2147483647 w 408"/>
              <a:gd name="T93" fmla="*/ 2147483647 h 390"/>
              <a:gd name="T94" fmla="*/ 2147483647 w 408"/>
              <a:gd name="T95" fmla="*/ 2147483647 h 390"/>
              <a:gd name="T96" fmla="*/ 2147483647 w 408"/>
              <a:gd name="T97" fmla="*/ 2147483647 h 390"/>
              <a:gd name="T98" fmla="*/ 2147483647 w 408"/>
              <a:gd name="T99" fmla="*/ 2147483647 h 390"/>
              <a:gd name="T100" fmla="*/ 2147483647 w 408"/>
              <a:gd name="T101" fmla="*/ 2147483647 h 390"/>
              <a:gd name="T102" fmla="*/ 2147483647 w 408"/>
              <a:gd name="T103" fmla="*/ 2147483647 h 390"/>
              <a:gd name="T104" fmla="*/ 2147483647 w 408"/>
              <a:gd name="T105" fmla="*/ 2147483647 h 390"/>
              <a:gd name="T106" fmla="*/ 2147483647 w 408"/>
              <a:gd name="T107" fmla="*/ 2147483647 h 390"/>
              <a:gd name="T108" fmla="*/ 2147483647 w 408"/>
              <a:gd name="T109" fmla="*/ 2147483647 h 390"/>
              <a:gd name="T110" fmla="*/ 2147483647 w 408"/>
              <a:gd name="T111" fmla="*/ 2147483647 h 390"/>
              <a:gd name="T112" fmla="*/ 2147483647 w 408"/>
              <a:gd name="T113" fmla="*/ 2147483647 h 390"/>
              <a:gd name="T114" fmla="*/ 2147483647 w 408"/>
              <a:gd name="T115" fmla="*/ 2147483647 h 390"/>
              <a:gd name="T116" fmla="*/ 2147483647 w 408"/>
              <a:gd name="T117" fmla="*/ 2147483647 h 390"/>
              <a:gd name="T118" fmla="*/ 2147483647 w 408"/>
              <a:gd name="T119" fmla="*/ 2147483647 h 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08" h="390">
                <a:moveTo>
                  <a:pt x="0" y="318"/>
                </a:moveTo>
                <a:lnTo>
                  <a:pt x="6" y="306"/>
                </a:lnTo>
                <a:lnTo>
                  <a:pt x="24" y="282"/>
                </a:lnTo>
                <a:lnTo>
                  <a:pt x="42" y="264"/>
                </a:lnTo>
                <a:lnTo>
                  <a:pt x="66" y="240"/>
                </a:lnTo>
                <a:lnTo>
                  <a:pt x="90" y="216"/>
                </a:lnTo>
                <a:lnTo>
                  <a:pt x="150" y="204"/>
                </a:lnTo>
                <a:lnTo>
                  <a:pt x="126" y="180"/>
                </a:lnTo>
                <a:lnTo>
                  <a:pt x="102" y="156"/>
                </a:lnTo>
                <a:lnTo>
                  <a:pt x="90" y="132"/>
                </a:lnTo>
                <a:lnTo>
                  <a:pt x="66" y="114"/>
                </a:lnTo>
                <a:lnTo>
                  <a:pt x="72" y="102"/>
                </a:lnTo>
                <a:lnTo>
                  <a:pt x="60" y="78"/>
                </a:lnTo>
                <a:lnTo>
                  <a:pt x="48" y="60"/>
                </a:lnTo>
                <a:lnTo>
                  <a:pt x="42" y="42"/>
                </a:lnTo>
                <a:lnTo>
                  <a:pt x="42" y="12"/>
                </a:lnTo>
                <a:lnTo>
                  <a:pt x="72" y="12"/>
                </a:lnTo>
                <a:lnTo>
                  <a:pt x="108" y="6"/>
                </a:lnTo>
                <a:lnTo>
                  <a:pt x="138" y="30"/>
                </a:lnTo>
                <a:lnTo>
                  <a:pt x="138" y="48"/>
                </a:lnTo>
                <a:lnTo>
                  <a:pt x="120" y="66"/>
                </a:lnTo>
                <a:lnTo>
                  <a:pt x="114" y="78"/>
                </a:lnTo>
                <a:lnTo>
                  <a:pt x="102" y="102"/>
                </a:lnTo>
                <a:lnTo>
                  <a:pt x="126" y="132"/>
                </a:lnTo>
                <a:lnTo>
                  <a:pt x="156" y="144"/>
                </a:lnTo>
                <a:lnTo>
                  <a:pt x="180" y="132"/>
                </a:lnTo>
                <a:lnTo>
                  <a:pt x="198" y="126"/>
                </a:lnTo>
                <a:lnTo>
                  <a:pt x="222" y="120"/>
                </a:lnTo>
                <a:lnTo>
                  <a:pt x="234" y="138"/>
                </a:lnTo>
                <a:lnTo>
                  <a:pt x="222" y="168"/>
                </a:lnTo>
                <a:lnTo>
                  <a:pt x="264" y="210"/>
                </a:lnTo>
                <a:lnTo>
                  <a:pt x="300" y="180"/>
                </a:lnTo>
                <a:lnTo>
                  <a:pt x="330" y="132"/>
                </a:lnTo>
                <a:lnTo>
                  <a:pt x="366" y="90"/>
                </a:lnTo>
                <a:lnTo>
                  <a:pt x="360" y="84"/>
                </a:lnTo>
                <a:lnTo>
                  <a:pt x="324" y="66"/>
                </a:lnTo>
                <a:lnTo>
                  <a:pt x="282" y="48"/>
                </a:lnTo>
                <a:lnTo>
                  <a:pt x="300" y="42"/>
                </a:lnTo>
                <a:lnTo>
                  <a:pt x="330" y="36"/>
                </a:lnTo>
                <a:lnTo>
                  <a:pt x="354" y="12"/>
                </a:lnTo>
                <a:lnTo>
                  <a:pt x="384" y="0"/>
                </a:lnTo>
                <a:lnTo>
                  <a:pt x="384" y="6"/>
                </a:lnTo>
                <a:lnTo>
                  <a:pt x="396" y="12"/>
                </a:lnTo>
                <a:lnTo>
                  <a:pt x="402" y="24"/>
                </a:lnTo>
                <a:lnTo>
                  <a:pt x="396" y="30"/>
                </a:lnTo>
                <a:lnTo>
                  <a:pt x="396" y="36"/>
                </a:lnTo>
                <a:lnTo>
                  <a:pt x="390" y="48"/>
                </a:lnTo>
                <a:lnTo>
                  <a:pt x="384" y="54"/>
                </a:lnTo>
                <a:lnTo>
                  <a:pt x="384" y="72"/>
                </a:lnTo>
                <a:lnTo>
                  <a:pt x="384" y="78"/>
                </a:lnTo>
                <a:lnTo>
                  <a:pt x="390" y="84"/>
                </a:lnTo>
                <a:lnTo>
                  <a:pt x="396" y="84"/>
                </a:lnTo>
                <a:lnTo>
                  <a:pt x="396" y="90"/>
                </a:lnTo>
                <a:lnTo>
                  <a:pt x="402" y="102"/>
                </a:lnTo>
                <a:lnTo>
                  <a:pt x="396" y="108"/>
                </a:lnTo>
                <a:lnTo>
                  <a:pt x="390" y="120"/>
                </a:lnTo>
                <a:lnTo>
                  <a:pt x="384" y="126"/>
                </a:lnTo>
                <a:lnTo>
                  <a:pt x="378" y="126"/>
                </a:lnTo>
                <a:lnTo>
                  <a:pt x="378" y="132"/>
                </a:lnTo>
                <a:lnTo>
                  <a:pt x="384" y="138"/>
                </a:lnTo>
                <a:lnTo>
                  <a:pt x="384" y="144"/>
                </a:lnTo>
                <a:lnTo>
                  <a:pt x="378" y="150"/>
                </a:lnTo>
                <a:lnTo>
                  <a:pt x="384" y="150"/>
                </a:lnTo>
                <a:lnTo>
                  <a:pt x="390" y="156"/>
                </a:lnTo>
                <a:lnTo>
                  <a:pt x="396" y="156"/>
                </a:lnTo>
                <a:lnTo>
                  <a:pt x="396" y="162"/>
                </a:lnTo>
                <a:lnTo>
                  <a:pt x="402" y="168"/>
                </a:lnTo>
                <a:lnTo>
                  <a:pt x="408" y="174"/>
                </a:lnTo>
                <a:lnTo>
                  <a:pt x="402" y="180"/>
                </a:lnTo>
                <a:lnTo>
                  <a:pt x="402" y="186"/>
                </a:lnTo>
                <a:lnTo>
                  <a:pt x="408" y="192"/>
                </a:lnTo>
                <a:lnTo>
                  <a:pt x="408" y="198"/>
                </a:lnTo>
                <a:lnTo>
                  <a:pt x="402" y="192"/>
                </a:lnTo>
                <a:lnTo>
                  <a:pt x="402" y="198"/>
                </a:lnTo>
                <a:lnTo>
                  <a:pt x="396" y="198"/>
                </a:lnTo>
                <a:lnTo>
                  <a:pt x="396" y="204"/>
                </a:lnTo>
                <a:lnTo>
                  <a:pt x="396" y="210"/>
                </a:lnTo>
                <a:lnTo>
                  <a:pt x="390" y="210"/>
                </a:lnTo>
                <a:lnTo>
                  <a:pt x="390" y="216"/>
                </a:lnTo>
                <a:lnTo>
                  <a:pt x="396" y="216"/>
                </a:lnTo>
                <a:lnTo>
                  <a:pt x="396" y="222"/>
                </a:lnTo>
                <a:lnTo>
                  <a:pt x="396" y="216"/>
                </a:lnTo>
                <a:lnTo>
                  <a:pt x="402" y="222"/>
                </a:lnTo>
                <a:lnTo>
                  <a:pt x="402" y="228"/>
                </a:lnTo>
                <a:lnTo>
                  <a:pt x="396" y="228"/>
                </a:lnTo>
                <a:lnTo>
                  <a:pt x="396" y="234"/>
                </a:lnTo>
                <a:lnTo>
                  <a:pt x="390" y="234"/>
                </a:lnTo>
                <a:lnTo>
                  <a:pt x="390" y="240"/>
                </a:lnTo>
                <a:lnTo>
                  <a:pt x="384" y="240"/>
                </a:lnTo>
                <a:lnTo>
                  <a:pt x="384" y="246"/>
                </a:lnTo>
                <a:lnTo>
                  <a:pt x="390" y="246"/>
                </a:lnTo>
                <a:lnTo>
                  <a:pt x="384" y="246"/>
                </a:lnTo>
                <a:lnTo>
                  <a:pt x="384" y="252"/>
                </a:lnTo>
                <a:lnTo>
                  <a:pt x="378" y="252"/>
                </a:lnTo>
                <a:lnTo>
                  <a:pt x="378" y="258"/>
                </a:lnTo>
                <a:lnTo>
                  <a:pt x="372" y="258"/>
                </a:lnTo>
                <a:lnTo>
                  <a:pt x="378" y="264"/>
                </a:lnTo>
                <a:lnTo>
                  <a:pt x="372" y="264"/>
                </a:lnTo>
                <a:lnTo>
                  <a:pt x="372" y="270"/>
                </a:lnTo>
                <a:lnTo>
                  <a:pt x="372" y="276"/>
                </a:lnTo>
                <a:lnTo>
                  <a:pt x="378" y="276"/>
                </a:lnTo>
                <a:lnTo>
                  <a:pt x="378" y="282"/>
                </a:lnTo>
                <a:lnTo>
                  <a:pt x="372" y="282"/>
                </a:lnTo>
                <a:lnTo>
                  <a:pt x="378" y="282"/>
                </a:lnTo>
                <a:lnTo>
                  <a:pt x="378" y="288"/>
                </a:lnTo>
                <a:lnTo>
                  <a:pt x="384" y="288"/>
                </a:lnTo>
                <a:lnTo>
                  <a:pt x="384" y="306"/>
                </a:lnTo>
                <a:lnTo>
                  <a:pt x="396" y="324"/>
                </a:lnTo>
                <a:lnTo>
                  <a:pt x="372" y="330"/>
                </a:lnTo>
                <a:lnTo>
                  <a:pt x="354" y="324"/>
                </a:lnTo>
                <a:lnTo>
                  <a:pt x="324" y="342"/>
                </a:lnTo>
                <a:lnTo>
                  <a:pt x="318" y="384"/>
                </a:lnTo>
                <a:lnTo>
                  <a:pt x="276" y="378"/>
                </a:lnTo>
                <a:lnTo>
                  <a:pt x="204" y="378"/>
                </a:lnTo>
                <a:lnTo>
                  <a:pt x="192" y="378"/>
                </a:lnTo>
                <a:lnTo>
                  <a:pt x="174" y="390"/>
                </a:lnTo>
                <a:lnTo>
                  <a:pt x="138" y="366"/>
                </a:lnTo>
                <a:lnTo>
                  <a:pt x="126" y="342"/>
                </a:lnTo>
                <a:lnTo>
                  <a:pt x="54" y="336"/>
                </a:lnTo>
                <a:lnTo>
                  <a:pt x="24" y="324"/>
                </a:lnTo>
                <a:lnTo>
                  <a:pt x="0" y="31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21" name="Freeform 63" descr="Light downward diagonal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5291548" y="3066214"/>
            <a:ext cx="973790" cy="764681"/>
          </a:xfrm>
          <a:custGeom>
            <a:avLst/>
            <a:gdLst>
              <a:gd name="T0" fmla="*/ 2147483647 w 540"/>
              <a:gd name="T1" fmla="*/ 2147483647 h 492"/>
              <a:gd name="T2" fmla="*/ 0 w 540"/>
              <a:gd name="T3" fmla="*/ 2147483647 h 492"/>
              <a:gd name="T4" fmla="*/ 2147483647 w 540"/>
              <a:gd name="T5" fmla="*/ 2147483647 h 492"/>
              <a:gd name="T6" fmla="*/ 2147483647 w 540"/>
              <a:gd name="T7" fmla="*/ 2147483647 h 492"/>
              <a:gd name="T8" fmla="*/ 2147483647 w 540"/>
              <a:gd name="T9" fmla="*/ 2147483647 h 492"/>
              <a:gd name="T10" fmla="*/ 2147483647 w 540"/>
              <a:gd name="T11" fmla="*/ 2147483647 h 492"/>
              <a:gd name="T12" fmla="*/ 2147483647 w 540"/>
              <a:gd name="T13" fmla="*/ 0 h 492"/>
              <a:gd name="T14" fmla="*/ 2147483647 w 540"/>
              <a:gd name="T15" fmla="*/ 2147483647 h 492"/>
              <a:gd name="T16" fmla="*/ 2147483647 w 540"/>
              <a:gd name="T17" fmla="*/ 0 h 492"/>
              <a:gd name="T18" fmla="*/ 2147483647 w 540"/>
              <a:gd name="T19" fmla="*/ 2147483647 h 492"/>
              <a:gd name="T20" fmla="*/ 2147483647 w 540"/>
              <a:gd name="T21" fmla="*/ 0 h 492"/>
              <a:gd name="T22" fmla="*/ 2147483647 w 540"/>
              <a:gd name="T23" fmla="*/ 2147483647 h 492"/>
              <a:gd name="T24" fmla="*/ 2147483647 w 540"/>
              <a:gd name="T25" fmla="*/ 2147483647 h 492"/>
              <a:gd name="T26" fmla="*/ 2147483647 w 540"/>
              <a:gd name="T27" fmla="*/ 2147483647 h 492"/>
              <a:gd name="T28" fmla="*/ 2147483647 w 540"/>
              <a:gd name="T29" fmla="*/ 2147483647 h 492"/>
              <a:gd name="T30" fmla="*/ 2147483647 w 540"/>
              <a:gd name="T31" fmla="*/ 2147483647 h 492"/>
              <a:gd name="T32" fmla="*/ 2147483647 w 540"/>
              <a:gd name="T33" fmla="*/ 2147483647 h 492"/>
              <a:gd name="T34" fmla="*/ 2147483647 w 540"/>
              <a:gd name="T35" fmla="*/ 2147483647 h 492"/>
              <a:gd name="T36" fmla="*/ 2147483647 w 540"/>
              <a:gd name="T37" fmla="*/ 2147483647 h 492"/>
              <a:gd name="T38" fmla="*/ 2147483647 w 540"/>
              <a:gd name="T39" fmla="*/ 2147483647 h 492"/>
              <a:gd name="T40" fmla="*/ 2147483647 w 540"/>
              <a:gd name="T41" fmla="*/ 2147483647 h 492"/>
              <a:gd name="T42" fmla="*/ 2147483647 w 540"/>
              <a:gd name="T43" fmla="*/ 2147483647 h 492"/>
              <a:gd name="T44" fmla="*/ 2147483647 w 540"/>
              <a:gd name="T45" fmla="*/ 2147483647 h 492"/>
              <a:gd name="T46" fmla="*/ 2147483647 w 540"/>
              <a:gd name="T47" fmla="*/ 2147483647 h 492"/>
              <a:gd name="T48" fmla="*/ 2147483647 w 540"/>
              <a:gd name="T49" fmla="*/ 2147483647 h 492"/>
              <a:gd name="T50" fmla="*/ 2147483647 w 540"/>
              <a:gd name="T51" fmla="*/ 2147483647 h 492"/>
              <a:gd name="T52" fmla="*/ 2147483647 w 540"/>
              <a:gd name="T53" fmla="*/ 2147483647 h 492"/>
              <a:gd name="T54" fmla="*/ 2147483647 w 540"/>
              <a:gd name="T55" fmla="*/ 2147483647 h 492"/>
              <a:gd name="T56" fmla="*/ 2147483647 w 540"/>
              <a:gd name="T57" fmla="*/ 2147483647 h 492"/>
              <a:gd name="T58" fmla="*/ 2147483647 w 540"/>
              <a:gd name="T59" fmla="*/ 2147483647 h 492"/>
              <a:gd name="T60" fmla="*/ 2147483647 w 540"/>
              <a:gd name="T61" fmla="*/ 2147483647 h 492"/>
              <a:gd name="T62" fmla="*/ 2147483647 w 540"/>
              <a:gd name="T63" fmla="*/ 2147483647 h 492"/>
              <a:gd name="T64" fmla="*/ 2147483647 w 540"/>
              <a:gd name="T65" fmla="*/ 2147483647 h 492"/>
              <a:gd name="T66" fmla="*/ 2147483647 w 540"/>
              <a:gd name="T67" fmla="*/ 2147483647 h 492"/>
              <a:gd name="T68" fmla="*/ 2147483647 w 540"/>
              <a:gd name="T69" fmla="*/ 2147483647 h 492"/>
              <a:gd name="T70" fmla="*/ 2147483647 w 540"/>
              <a:gd name="T71" fmla="*/ 2147483647 h 492"/>
              <a:gd name="T72" fmla="*/ 2147483647 w 540"/>
              <a:gd name="T73" fmla="*/ 2147483647 h 492"/>
              <a:gd name="T74" fmla="*/ 2147483647 w 540"/>
              <a:gd name="T75" fmla="*/ 2147483647 h 492"/>
              <a:gd name="T76" fmla="*/ 2147483647 w 540"/>
              <a:gd name="T77" fmla="*/ 2147483647 h 492"/>
              <a:gd name="T78" fmla="*/ 2147483647 w 540"/>
              <a:gd name="T79" fmla="*/ 2147483647 h 492"/>
              <a:gd name="T80" fmla="*/ 2147483647 w 540"/>
              <a:gd name="T81" fmla="*/ 2147483647 h 492"/>
              <a:gd name="T82" fmla="*/ 2147483647 w 540"/>
              <a:gd name="T83" fmla="*/ 2147483647 h 492"/>
              <a:gd name="T84" fmla="*/ 2147483647 w 540"/>
              <a:gd name="T85" fmla="*/ 2147483647 h 4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40" h="492">
                <a:moveTo>
                  <a:pt x="18" y="360"/>
                </a:moveTo>
                <a:lnTo>
                  <a:pt x="0" y="312"/>
                </a:lnTo>
                <a:lnTo>
                  <a:pt x="12" y="282"/>
                </a:lnTo>
                <a:lnTo>
                  <a:pt x="48" y="240"/>
                </a:lnTo>
                <a:lnTo>
                  <a:pt x="108" y="174"/>
                </a:lnTo>
                <a:lnTo>
                  <a:pt x="114" y="126"/>
                </a:lnTo>
                <a:lnTo>
                  <a:pt x="192" y="0"/>
                </a:lnTo>
                <a:lnTo>
                  <a:pt x="216" y="12"/>
                </a:lnTo>
                <a:lnTo>
                  <a:pt x="240" y="0"/>
                </a:lnTo>
                <a:lnTo>
                  <a:pt x="282" y="12"/>
                </a:lnTo>
                <a:lnTo>
                  <a:pt x="312" y="0"/>
                </a:lnTo>
                <a:lnTo>
                  <a:pt x="342" y="6"/>
                </a:lnTo>
                <a:lnTo>
                  <a:pt x="372" y="12"/>
                </a:lnTo>
                <a:lnTo>
                  <a:pt x="408" y="6"/>
                </a:lnTo>
                <a:lnTo>
                  <a:pt x="414" y="48"/>
                </a:lnTo>
                <a:lnTo>
                  <a:pt x="414" y="90"/>
                </a:lnTo>
                <a:lnTo>
                  <a:pt x="402" y="120"/>
                </a:lnTo>
                <a:lnTo>
                  <a:pt x="390" y="150"/>
                </a:lnTo>
                <a:lnTo>
                  <a:pt x="360" y="180"/>
                </a:lnTo>
                <a:lnTo>
                  <a:pt x="348" y="210"/>
                </a:lnTo>
                <a:lnTo>
                  <a:pt x="378" y="210"/>
                </a:lnTo>
                <a:lnTo>
                  <a:pt x="396" y="234"/>
                </a:lnTo>
                <a:lnTo>
                  <a:pt x="402" y="276"/>
                </a:lnTo>
                <a:lnTo>
                  <a:pt x="462" y="312"/>
                </a:lnTo>
                <a:lnTo>
                  <a:pt x="492" y="342"/>
                </a:lnTo>
                <a:lnTo>
                  <a:pt x="498" y="354"/>
                </a:lnTo>
                <a:lnTo>
                  <a:pt x="522" y="354"/>
                </a:lnTo>
                <a:lnTo>
                  <a:pt x="540" y="390"/>
                </a:lnTo>
                <a:lnTo>
                  <a:pt x="534" y="414"/>
                </a:lnTo>
                <a:lnTo>
                  <a:pt x="516" y="444"/>
                </a:lnTo>
                <a:lnTo>
                  <a:pt x="486" y="444"/>
                </a:lnTo>
                <a:lnTo>
                  <a:pt x="444" y="468"/>
                </a:lnTo>
                <a:lnTo>
                  <a:pt x="414" y="486"/>
                </a:lnTo>
                <a:lnTo>
                  <a:pt x="390" y="492"/>
                </a:lnTo>
                <a:lnTo>
                  <a:pt x="366" y="486"/>
                </a:lnTo>
                <a:lnTo>
                  <a:pt x="342" y="468"/>
                </a:lnTo>
                <a:lnTo>
                  <a:pt x="294" y="462"/>
                </a:lnTo>
                <a:lnTo>
                  <a:pt x="264" y="480"/>
                </a:lnTo>
                <a:lnTo>
                  <a:pt x="216" y="474"/>
                </a:lnTo>
                <a:lnTo>
                  <a:pt x="216" y="444"/>
                </a:lnTo>
                <a:lnTo>
                  <a:pt x="126" y="384"/>
                </a:lnTo>
                <a:lnTo>
                  <a:pt x="60" y="366"/>
                </a:lnTo>
                <a:lnTo>
                  <a:pt x="18" y="360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22" name="Freeform 64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848510" y="2334542"/>
            <a:ext cx="1028804" cy="608811"/>
          </a:xfrm>
          <a:custGeom>
            <a:avLst/>
            <a:gdLst>
              <a:gd name="T0" fmla="*/ 2147483647 w 570"/>
              <a:gd name="T1" fmla="*/ 2147483647 h 390"/>
              <a:gd name="T2" fmla="*/ 2147483647 w 570"/>
              <a:gd name="T3" fmla="*/ 2147483647 h 390"/>
              <a:gd name="T4" fmla="*/ 2147483647 w 570"/>
              <a:gd name="T5" fmla="*/ 2147483647 h 390"/>
              <a:gd name="T6" fmla="*/ 2147483647 w 570"/>
              <a:gd name="T7" fmla="*/ 2147483647 h 390"/>
              <a:gd name="T8" fmla="*/ 2147483647 w 570"/>
              <a:gd name="T9" fmla="*/ 0 h 390"/>
              <a:gd name="T10" fmla="*/ 2147483647 w 570"/>
              <a:gd name="T11" fmla="*/ 2147483647 h 390"/>
              <a:gd name="T12" fmla="*/ 2147483647 w 570"/>
              <a:gd name="T13" fmla="*/ 0 h 390"/>
              <a:gd name="T14" fmla="*/ 2147483647 w 570"/>
              <a:gd name="T15" fmla="*/ 2147483647 h 390"/>
              <a:gd name="T16" fmla="*/ 2147483647 w 570"/>
              <a:gd name="T17" fmla="*/ 2147483647 h 390"/>
              <a:gd name="T18" fmla="*/ 2147483647 w 570"/>
              <a:gd name="T19" fmla="*/ 2147483647 h 390"/>
              <a:gd name="T20" fmla="*/ 2147483647 w 570"/>
              <a:gd name="T21" fmla="*/ 2147483647 h 390"/>
              <a:gd name="T22" fmla="*/ 2147483647 w 570"/>
              <a:gd name="T23" fmla="*/ 2147483647 h 390"/>
              <a:gd name="T24" fmla="*/ 2147483647 w 570"/>
              <a:gd name="T25" fmla="*/ 2147483647 h 390"/>
              <a:gd name="T26" fmla="*/ 2147483647 w 570"/>
              <a:gd name="T27" fmla="*/ 2147483647 h 390"/>
              <a:gd name="T28" fmla="*/ 2147483647 w 570"/>
              <a:gd name="T29" fmla="*/ 2147483647 h 390"/>
              <a:gd name="T30" fmla="*/ 2147483647 w 570"/>
              <a:gd name="T31" fmla="*/ 2147483647 h 390"/>
              <a:gd name="T32" fmla="*/ 2147483647 w 570"/>
              <a:gd name="T33" fmla="*/ 2147483647 h 390"/>
              <a:gd name="T34" fmla="*/ 2147483647 w 570"/>
              <a:gd name="T35" fmla="*/ 2147483647 h 390"/>
              <a:gd name="T36" fmla="*/ 2147483647 w 570"/>
              <a:gd name="T37" fmla="*/ 2147483647 h 390"/>
              <a:gd name="T38" fmla="*/ 2147483647 w 570"/>
              <a:gd name="T39" fmla="*/ 2147483647 h 390"/>
              <a:gd name="T40" fmla="*/ 2147483647 w 570"/>
              <a:gd name="T41" fmla="*/ 2147483647 h 390"/>
              <a:gd name="T42" fmla="*/ 2147483647 w 570"/>
              <a:gd name="T43" fmla="*/ 2147483647 h 390"/>
              <a:gd name="T44" fmla="*/ 2147483647 w 570"/>
              <a:gd name="T45" fmla="*/ 2147483647 h 390"/>
              <a:gd name="T46" fmla="*/ 2147483647 w 570"/>
              <a:gd name="T47" fmla="*/ 2147483647 h 390"/>
              <a:gd name="T48" fmla="*/ 2147483647 w 570"/>
              <a:gd name="T49" fmla="*/ 2147483647 h 390"/>
              <a:gd name="T50" fmla="*/ 2147483647 w 570"/>
              <a:gd name="T51" fmla="*/ 2147483647 h 390"/>
              <a:gd name="T52" fmla="*/ 2147483647 w 570"/>
              <a:gd name="T53" fmla="*/ 2147483647 h 390"/>
              <a:gd name="T54" fmla="*/ 2147483647 w 570"/>
              <a:gd name="T55" fmla="*/ 2147483647 h 390"/>
              <a:gd name="T56" fmla="*/ 2147483647 w 570"/>
              <a:gd name="T57" fmla="*/ 2147483647 h 390"/>
              <a:gd name="T58" fmla="*/ 2147483647 w 570"/>
              <a:gd name="T59" fmla="*/ 2147483647 h 390"/>
              <a:gd name="T60" fmla="*/ 0 w 570"/>
              <a:gd name="T61" fmla="*/ 2147483647 h 390"/>
              <a:gd name="T62" fmla="*/ 0 w 570"/>
              <a:gd name="T63" fmla="*/ 2147483647 h 390"/>
              <a:gd name="T64" fmla="*/ 2147483647 w 570"/>
              <a:gd name="T65" fmla="*/ 2147483647 h 390"/>
              <a:gd name="T66" fmla="*/ 2147483647 w 570"/>
              <a:gd name="T67" fmla="*/ 2147483647 h 390"/>
              <a:gd name="T68" fmla="*/ 2147483647 w 570"/>
              <a:gd name="T69" fmla="*/ 2147483647 h 390"/>
              <a:gd name="T70" fmla="*/ 2147483647 w 570"/>
              <a:gd name="T71" fmla="*/ 2147483647 h 390"/>
              <a:gd name="T72" fmla="*/ 2147483647 w 570"/>
              <a:gd name="T73" fmla="*/ 2147483647 h 390"/>
              <a:gd name="T74" fmla="*/ 2147483647 w 570"/>
              <a:gd name="T75" fmla="*/ 2147483647 h 390"/>
              <a:gd name="T76" fmla="*/ 2147483647 w 570"/>
              <a:gd name="T77" fmla="*/ 2147483647 h 390"/>
              <a:gd name="T78" fmla="*/ 2147483647 w 570"/>
              <a:gd name="T79" fmla="*/ 2147483647 h 390"/>
              <a:gd name="T80" fmla="*/ 2147483647 w 570"/>
              <a:gd name="T81" fmla="*/ 2147483647 h 390"/>
              <a:gd name="T82" fmla="*/ 2147483647 w 570"/>
              <a:gd name="T83" fmla="*/ 2147483647 h 390"/>
              <a:gd name="T84" fmla="*/ 2147483647 w 570"/>
              <a:gd name="T85" fmla="*/ 2147483647 h 390"/>
              <a:gd name="T86" fmla="*/ 2147483647 w 570"/>
              <a:gd name="T87" fmla="*/ 2147483647 h 390"/>
              <a:gd name="T88" fmla="*/ 2147483647 w 570"/>
              <a:gd name="T89" fmla="*/ 2147483647 h 390"/>
              <a:gd name="T90" fmla="*/ 2147483647 w 570"/>
              <a:gd name="T91" fmla="*/ 2147483647 h 390"/>
              <a:gd name="T92" fmla="*/ 2147483647 w 570"/>
              <a:gd name="T93" fmla="*/ 2147483647 h 390"/>
              <a:gd name="T94" fmla="*/ 2147483647 w 570"/>
              <a:gd name="T95" fmla="*/ 2147483647 h 39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570" h="390">
                <a:moveTo>
                  <a:pt x="252" y="54"/>
                </a:moveTo>
                <a:lnTo>
                  <a:pt x="324" y="54"/>
                </a:lnTo>
                <a:lnTo>
                  <a:pt x="366" y="60"/>
                </a:lnTo>
                <a:lnTo>
                  <a:pt x="372" y="18"/>
                </a:lnTo>
                <a:lnTo>
                  <a:pt x="402" y="0"/>
                </a:lnTo>
                <a:lnTo>
                  <a:pt x="420" y="6"/>
                </a:lnTo>
                <a:lnTo>
                  <a:pt x="444" y="0"/>
                </a:lnTo>
                <a:lnTo>
                  <a:pt x="450" y="18"/>
                </a:lnTo>
                <a:lnTo>
                  <a:pt x="462" y="54"/>
                </a:lnTo>
                <a:lnTo>
                  <a:pt x="462" y="60"/>
                </a:lnTo>
                <a:lnTo>
                  <a:pt x="456" y="78"/>
                </a:lnTo>
                <a:lnTo>
                  <a:pt x="504" y="96"/>
                </a:lnTo>
                <a:lnTo>
                  <a:pt x="522" y="120"/>
                </a:lnTo>
                <a:lnTo>
                  <a:pt x="546" y="120"/>
                </a:lnTo>
                <a:lnTo>
                  <a:pt x="552" y="120"/>
                </a:lnTo>
                <a:lnTo>
                  <a:pt x="558" y="126"/>
                </a:lnTo>
                <a:lnTo>
                  <a:pt x="564" y="120"/>
                </a:lnTo>
                <a:lnTo>
                  <a:pt x="570" y="126"/>
                </a:lnTo>
                <a:lnTo>
                  <a:pt x="558" y="162"/>
                </a:lnTo>
                <a:lnTo>
                  <a:pt x="486" y="180"/>
                </a:lnTo>
                <a:lnTo>
                  <a:pt x="432" y="204"/>
                </a:lnTo>
                <a:lnTo>
                  <a:pt x="414" y="228"/>
                </a:lnTo>
                <a:lnTo>
                  <a:pt x="396" y="264"/>
                </a:lnTo>
                <a:lnTo>
                  <a:pt x="348" y="276"/>
                </a:lnTo>
                <a:lnTo>
                  <a:pt x="294" y="288"/>
                </a:lnTo>
                <a:lnTo>
                  <a:pt x="258" y="300"/>
                </a:lnTo>
                <a:lnTo>
                  <a:pt x="222" y="306"/>
                </a:lnTo>
                <a:lnTo>
                  <a:pt x="138" y="330"/>
                </a:lnTo>
                <a:lnTo>
                  <a:pt x="90" y="366"/>
                </a:lnTo>
                <a:lnTo>
                  <a:pt x="30" y="390"/>
                </a:lnTo>
                <a:lnTo>
                  <a:pt x="0" y="366"/>
                </a:lnTo>
                <a:lnTo>
                  <a:pt x="0" y="318"/>
                </a:lnTo>
                <a:lnTo>
                  <a:pt x="6" y="282"/>
                </a:lnTo>
                <a:lnTo>
                  <a:pt x="42" y="276"/>
                </a:lnTo>
                <a:lnTo>
                  <a:pt x="66" y="270"/>
                </a:lnTo>
                <a:lnTo>
                  <a:pt x="102" y="276"/>
                </a:lnTo>
                <a:lnTo>
                  <a:pt x="132" y="276"/>
                </a:lnTo>
                <a:lnTo>
                  <a:pt x="168" y="264"/>
                </a:lnTo>
                <a:lnTo>
                  <a:pt x="210" y="246"/>
                </a:lnTo>
                <a:lnTo>
                  <a:pt x="252" y="234"/>
                </a:lnTo>
                <a:lnTo>
                  <a:pt x="270" y="222"/>
                </a:lnTo>
                <a:lnTo>
                  <a:pt x="252" y="204"/>
                </a:lnTo>
                <a:lnTo>
                  <a:pt x="240" y="180"/>
                </a:lnTo>
                <a:lnTo>
                  <a:pt x="240" y="156"/>
                </a:lnTo>
                <a:lnTo>
                  <a:pt x="258" y="120"/>
                </a:lnTo>
                <a:lnTo>
                  <a:pt x="252" y="102"/>
                </a:lnTo>
                <a:lnTo>
                  <a:pt x="246" y="78"/>
                </a:lnTo>
                <a:lnTo>
                  <a:pt x="252" y="54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23" name="Freeform 65"/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7250129" y="3007536"/>
            <a:ext cx="627186" cy="419933"/>
          </a:xfrm>
          <a:custGeom>
            <a:avLst/>
            <a:gdLst>
              <a:gd name="T0" fmla="*/ 2147483647 w 348"/>
              <a:gd name="T1" fmla="*/ 2147483647 h 270"/>
              <a:gd name="T2" fmla="*/ 2147483647 w 348"/>
              <a:gd name="T3" fmla="*/ 2147483647 h 270"/>
              <a:gd name="T4" fmla="*/ 2147483647 w 348"/>
              <a:gd name="T5" fmla="*/ 2147483647 h 270"/>
              <a:gd name="T6" fmla="*/ 2147483647 w 348"/>
              <a:gd name="T7" fmla="*/ 2147483647 h 270"/>
              <a:gd name="T8" fmla="*/ 2147483647 w 348"/>
              <a:gd name="T9" fmla="*/ 2147483647 h 270"/>
              <a:gd name="T10" fmla="*/ 2147483647 w 348"/>
              <a:gd name="T11" fmla="*/ 2147483647 h 270"/>
              <a:gd name="T12" fmla="*/ 2147483647 w 348"/>
              <a:gd name="T13" fmla="*/ 2147483647 h 270"/>
              <a:gd name="T14" fmla="*/ 2147483647 w 348"/>
              <a:gd name="T15" fmla="*/ 2147483647 h 270"/>
              <a:gd name="T16" fmla="*/ 2147483647 w 348"/>
              <a:gd name="T17" fmla="*/ 2147483647 h 270"/>
              <a:gd name="T18" fmla="*/ 2147483647 w 348"/>
              <a:gd name="T19" fmla="*/ 0 h 270"/>
              <a:gd name="T20" fmla="*/ 2147483647 w 348"/>
              <a:gd name="T21" fmla="*/ 0 h 270"/>
              <a:gd name="T22" fmla="*/ 2147483647 w 348"/>
              <a:gd name="T23" fmla="*/ 2147483647 h 270"/>
              <a:gd name="T24" fmla="*/ 2147483647 w 348"/>
              <a:gd name="T25" fmla="*/ 2147483647 h 270"/>
              <a:gd name="T26" fmla="*/ 2147483647 w 348"/>
              <a:gd name="T27" fmla="*/ 2147483647 h 270"/>
              <a:gd name="T28" fmla="*/ 2147483647 w 348"/>
              <a:gd name="T29" fmla="*/ 2147483647 h 270"/>
              <a:gd name="T30" fmla="*/ 2147483647 w 348"/>
              <a:gd name="T31" fmla="*/ 2147483647 h 270"/>
              <a:gd name="T32" fmla="*/ 2147483647 w 348"/>
              <a:gd name="T33" fmla="*/ 2147483647 h 270"/>
              <a:gd name="T34" fmla="*/ 2147483647 w 348"/>
              <a:gd name="T35" fmla="*/ 2147483647 h 270"/>
              <a:gd name="T36" fmla="*/ 2147483647 w 348"/>
              <a:gd name="T37" fmla="*/ 2147483647 h 270"/>
              <a:gd name="T38" fmla="*/ 2147483647 w 348"/>
              <a:gd name="T39" fmla="*/ 2147483647 h 270"/>
              <a:gd name="T40" fmla="*/ 2147483647 w 348"/>
              <a:gd name="T41" fmla="*/ 2147483647 h 270"/>
              <a:gd name="T42" fmla="*/ 2147483647 w 348"/>
              <a:gd name="T43" fmla="*/ 2147483647 h 270"/>
              <a:gd name="T44" fmla="*/ 2147483647 w 348"/>
              <a:gd name="T45" fmla="*/ 2147483647 h 270"/>
              <a:gd name="T46" fmla="*/ 2147483647 w 348"/>
              <a:gd name="T47" fmla="*/ 2147483647 h 270"/>
              <a:gd name="T48" fmla="*/ 2147483647 w 348"/>
              <a:gd name="T49" fmla="*/ 2147483647 h 270"/>
              <a:gd name="T50" fmla="*/ 2147483647 w 348"/>
              <a:gd name="T51" fmla="*/ 2147483647 h 270"/>
              <a:gd name="T52" fmla="*/ 2147483647 w 348"/>
              <a:gd name="T53" fmla="*/ 2147483647 h 270"/>
              <a:gd name="T54" fmla="*/ 2147483647 w 348"/>
              <a:gd name="T55" fmla="*/ 2147483647 h 270"/>
              <a:gd name="T56" fmla="*/ 0 w 348"/>
              <a:gd name="T57" fmla="*/ 2147483647 h 270"/>
              <a:gd name="T58" fmla="*/ 2147483647 w 348"/>
              <a:gd name="T59" fmla="*/ 2147483647 h 27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348" h="270">
                <a:moveTo>
                  <a:pt x="6" y="198"/>
                </a:moveTo>
                <a:lnTo>
                  <a:pt x="18" y="174"/>
                </a:lnTo>
                <a:lnTo>
                  <a:pt x="18" y="150"/>
                </a:lnTo>
                <a:lnTo>
                  <a:pt x="48" y="114"/>
                </a:lnTo>
                <a:lnTo>
                  <a:pt x="78" y="84"/>
                </a:lnTo>
                <a:lnTo>
                  <a:pt x="120" y="60"/>
                </a:lnTo>
                <a:lnTo>
                  <a:pt x="144" y="54"/>
                </a:lnTo>
                <a:lnTo>
                  <a:pt x="168" y="36"/>
                </a:lnTo>
                <a:lnTo>
                  <a:pt x="222" y="12"/>
                </a:lnTo>
                <a:lnTo>
                  <a:pt x="264" y="0"/>
                </a:lnTo>
                <a:lnTo>
                  <a:pt x="300" y="0"/>
                </a:lnTo>
                <a:lnTo>
                  <a:pt x="348" y="18"/>
                </a:lnTo>
                <a:lnTo>
                  <a:pt x="342" y="36"/>
                </a:lnTo>
                <a:lnTo>
                  <a:pt x="318" y="54"/>
                </a:lnTo>
                <a:lnTo>
                  <a:pt x="324" y="78"/>
                </a:lnTo>
                <a:lnTo>
                  <a:pt x="306" y="90"/>
                </a:lnTo>
                <a:lnTo>
                  <a:pt x="288" y="114"/>
                </a:lnTo>
                <a:lnTo>
                  <a:pt x="306" y="126"/>
                </a:lnTo>
                <a:lnTo>
                  <a:pt x="300" y="180"/>
                </a:lnTo>
                <a:lnTo>
                  <a:pt x="258" y="204"/>
                </a:lnTo>
                <a:lnTo>
                  <a:pt x="240" y="222"/>
                </a:lnTo>
                <a:lnTo>
                  <a:pt x="204" y="228"/>
                </a:lnTo>
                <a:lnTo>
                  <a:pt x="186" y="252"/>
                </a:lnTo>
                <a:lnTo>
                  <a:pt x="174" y="270"/>
                </a:lnTo>
                <a:lnTo>
                  <a:pt x="120" y="264"/>
                </a:lnTo>
                <a:lnTo>
                  <a:pt x="90" y="264"/>
                </a:lnTo>
                <a:lnTo>
                  <a:pt x="36" y="270"/>
                </a:lnTo>
                <a:lnTo>
                  <a:pt x="12" y="258"/>
                </a:lnTo>
                <a:lnTo>
                  <a:pt x="0" y="228"/>
                </a:lnTo>
                <a:lnTo>
                  <a:pt x="6" y="19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24" name="Freeform 66" descr="Light downward diagonal"/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5812371" y="4148140"/>
            <a:ext cx="755558" cy="617979"/>
          </a:xfrm>
          <a:custGeom>
            <a:avLst/>
            <a:gdLst>
              <a:gd name="T0" fmla="*/ 2147483647 w 420"/>
              <a:gd name="T1" fmla="*/ 2147483647 h 396"/>
              <a:gd name="T2" fmla="*/ 0 w 420"/>
              <a:gd name="T3" fmla="*/ 2147483647 h 396"/>
              <a:gd name="T4" fmla="*/ 2147483647 w 420"/>
              <a:gd name="T5" fmla="*/ 2147483647 h 396"/>
              <a:gd name="T6" fmla="*/ 2147483647 w 420"/>
              <a:gd name="T7" fmla="*/ 2147483647 h 396"/>
              <a:gd name="T8" fmla="*/ 2147483647 w 420"/>
              <a:gd name="T9" fmla="*/ 2147483647 h 396"/>
              <a:gd name="T10" fmla="*/ 2147483647 w 420"/>
              <a:gd name="T11" fmla="*/ 2147483647 h 396"/>
              <a:gd name="T12" fmla="*/ 2147483647 w 420"/>
              <a:gd name="T13" fmla="*/ 2147483647 h 396"/>
              <a:gd name="T14" fmla="*/ 2147483647 w 420"/>
              <a:gd name="T15" fmla="*/ 2147483647 h 396"/>
              <a:gd name="T16" fmla="*/ 2147483647 w 420"/>
              <a:gd name="T17" fmla="*/ 2147483647 h 396"/>
              <a:gd name="T18" fmla="*/ 2147483647 w 420"/>
              <a:gd name="T19" fmla="*/ 2147483647 h 396"/>
              <a:gd name="T20" fmla="*/ 2147483647 w 420"/>
              <a:gd name="T21" fmla="*/ 2147483647 h 396"/>
              <a:gd name="T22" fmla="*/ 2147483647 w 420"/>
              <a:gd name="T23" fmla="*/ 2147483647 h 396"/>
              <a:gd name="T24" fmla="*/ 2147483647 w 420"/>
              <a:gd name="T25" fmla="*/ 2147483647 h 396"/>
              <a:gd name="T26" fmla="*/ 2147483647 w 420"/>
              <a:gd name="T27" fmla="*/ 2147483647 h 396"/>
              <a:gd name="T28" fmla="*/ 2147483647 w 420"/>
              <a:gd name="T29" fmla="*/ 2147483647 h 396"/>
              <a:gd name="T30" fmla="*/ 2147483647 w 420"/>
              <a:gd name="T31" fmla="*/ 2147483647 h 396"/>
              <a:gd name="T32" fmla="*/ 2147483647 w 420"/>
              <a:gd name="T33" fmla="*/ 2147483647 h 396"/>
              <a:gd name="T34" fmla="*/ 2147483647 w 420"/>
              <a:gd name="T35" fmla="*/ 2147483647 h 396"/>
              <a:gd name="T36" fmla="*/ 2147483647 w 420"/>
              <a:gd name="T37" fmla="*/ 2147483647 h 396"/>
              <a:gd name="T38" fmla="*/ 2147483647 w 420"/>
              <a:gd name="T39" fmla="*/ 2147483647 h 396"/>
              <a:gd name="T40" fmla="*/ 2147483647 w 420"/>
              <a:gd name="T41" fmla="*/ 0 h 396"/>
              <a:gd name="T42" fmla="*/ 2147483647 w 420"/>
              <a:gd name="T43" fmla="*/ 2147483647 h 396"/>
              <a:gd name="T44" fmla="*/ 2147483647 w 420"/>
              <a:gd name="T45" fmla="*/ 2147483647 h 396"/>
              <a:gd name="T46" fmla="*/ 2147483647 w 420"/>
              <a:gd name="T47" fmla="*/ 2147483647 h 396"/>
              <a:gd name="T48" fmla="*/ 2147483647 w 420"/>
              <a:gd name="T49" fmla="*/ 2147483647 h 396"/>
              <a:gd name="T50" fmla="*/ 2147483647 w 420"/>
              <a:gd name="T51" fmla="*/ 2147483647 h 396"/>
              <a:gd name="T52" fmla="*/ 2147483647 w 420"/>
              <a:gd name="T53" fmla="*/ 2147483647 h 396"/>
              <a:gd name="T54" fmla="*/ 2147483647 w 420"/>
              <a:gd name="T55" fmla="*/ 2147483647 h 396"/>
              <a:gd name="T56" fmla="*/ 2147483647 w 420"/>
              <a:gd name="T57" fmla="*/ 2147483647 h 396"/>
              <a:gd name="T58" fmla="*/ 2147483647 w 420"/>
              <a:gd name="T59" fmla="*/ 2147483647 h 396"/>
              <a:gd name="T60" fmla="*/ 2147483647 w 420"/>
              <a:gd name="T61" fmla="*/ 2147483647 h 396"/>
              <a:gd name="T62" fmla="*/ 2147483647 w 420"/>
              <a:gd name="T63" fmla="*/ 2147483647 h 396"/>
              <a:gd name="T64" fmla="*/ 2147483647 w 420"/>
              <a:gd name="T65" fmla="*/ 2147483647 h 396"/>
              <a:gd name="T66" fmla="*/ 2147483647 w 420"/>
              <a:gd name="T67" fmla="*/ 2147483647 h 396"/>
              <a:gd name="T68" fmla="*/ 2147483647 w 420"/>
              <a:gd name="T69" fmla="*/ 2147483647 h 396"/>
              <a:gd name="T70" fmla="*/ 2147483647 w 420"/>
              <a:gd name="T71" fmla="*/ 2147483647 h 396"/>
              <a:gd name="T72" fmla="*/ 2147483647 w 420"/>
              <a:gd name="T73" fmla="*/ 2147483647 h 396"/>
              <a:gd name="T74" fmla="*/ 2147483647 w 420"/>
              <a:gd name="T75" fmla="*/ 2147483647 h 396"/>
              <a:gd name="T76" fmla="*/ 2147483647 w 420"/>
              <a:gd name="T77" fmla="*/ 2147483647 h 396"/>
              <a:gd name="T78" fmla="*/ 2147483647 w 420"/>
              <a:gd name="T79" fmla="*/ 2147483647 h 39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420" h="396">
                <a:moveTo>
                  <a:pt x="30" y="396"/>
                </a:moveTo>
                <a:lnTo>
                  <a:pt x="0" y="372"/>
                </a:lnTo>
                <a:lnTo>
                  <a:pt x="18" y="330"/>
                </a:lnTo>
                <a:lnTo>
                  <a:pt x="78" y="288"/>
                </a:lnTo>
                <a:lnTo>
                  <a:pt x="102" y="246"/>
                </a:lnTo>
                <a:lnTo>
                  <a:pt x="114" y="222"/>
                </a:lnTo>
                <a:lnTo>
                  <a:pt x="114" y="198"/>
                </a:lnTo>
                <a:lnTo>
                  <a:pt x="84" y="180"/>
                </a:lnTo>
                <a:lnTo>
                  <a:pt x="72" y="162"/>
                </a:lnTo>
                <a:lnTo>
                  <a:pt x="60" y="138"/>
                </a:lnTo>
                <a:lnTo>
                  <a:pt x="42" y="126"/>
                </a:lnTo>
                <a:lnTo>
                  <a:pt x="30" y="120"/>
                </a:lnTo>
                <a:lnTo>
                  <a:pt x="72" y="96"/>
                </a:lnTo>
                <a:lnTo>
                  <a:pt x="108" y="78"/>
                </a:lnTo>
                <a:lnTo>
                  <a:pt x="120" y="66"/>
                </a:lnTo>
                <a:lnTo>
                  <a:pt x="144" y="30"/>
                </a:lnTo>
                <a:lnTo>
                  <a:pt x="162" y="18"/>
                </a:lnTo>
                <a:lnTo>
                  <a:pt x="192" y="12"/>
                </a:lnTo>
                <a:lnTo>
                  <a:pt x="222" y="24"/>
                </a:lnTo>
                <a:lnTo>
                  <a:pt x="246" y="12"/>
                </a:lnTo>
                <a:lnTo>
                  <a:pt x="270" y="0"/>
                </a:lnTo>
                <a:lnTo>
                  <a:pt x="306" y="6"/>
                </a:lnTo>
                <a:lnTo>
                  <a:pt x="294" y="36"/>
                </a:lnTo>
                <a:lnTo>
                  <a:pt x="288" y="78"/>
                </a:lnTo>
                <a:lnTo>
                  <a:pt x="366" y="96"/>
                </a:lnTo>
                <a:lnTo>
                  <a:pt x="420" y="90"/>
                </a:lnTo>
                <a:lnTo>
                  <a:pt x="420" y="126"/>
                </a:lnTo>
                <a:lnTo>
                  <a:pt x="396" y="234"/>
                </a:lnTo>
                <a:lnTo>
                  <a:pt x="336" y="264"/>
                </a:lnTo>
                <a:lnTo>
                  <a:pt x="294" y="276"/>
                </a:lnTo>
                <a:lnTo>
                  <a:pt x="264" y="306"/>
                </a:lnTo>
                <a:lnTo>
                  <a:pt x="234" y="318"/>
                </a:lnTo>
                <a:lnTo>
                  <a:pt x="198" y="306"/>
                </a:lnTo>
                <a:lnTo>
                  <a:pt x="156" y="312"/>
                </a:lnTo>
                <a:lnTo>
                  <a:pt x="120" y="312"/>
                </a:lnTo>
                <a:lnTo>
                  <a:pt x="90" y="372"/>
                </a:lnTo>
                <a:lnTo>
                  <a:pt x="96" y="378"/>
                </a:lnTo>
                <a:lnTo>
                  <a:pt x="72" y="390"/>
                </a:lnTo>
                <a:lnTo>
                  <a:pt x="48" y="390"/>
                </a:lnTo>
                <a:lnTo>
                  <a:pt x="30" y="396"/>
                </a:lnTo>
                <a:close/>
              </a:path>
            </a:pathLst>
          </a:custGeom>
          <a:pattFill prst="wdUpDiag">
            <a:fgClr>
              <a:srgbClr val="FF0000"/>
            </a:fgClr>
            <a:bgClr>
              <a:srgbClr val="FF9900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25" name="Freeform 67"/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4361773" y="3662190"/>
            <a:ext cx="898600" cy="1345986"/>
          </a:xfrm>
          <a:custGeom>
            <a:avLst/>
            <a:gdLst>
              <a:gd name="T0" fmla="*/ 2147483647 w 498"/>
              <a:gd name="T1" fmla="*/ 2147483647 h 864"/>
              <a:gd name="T2" fmla="*/ 2147483647 w 498"/>
              <a:gd name="T3" fmla="*/ 2147483647 h 864"/>
              <a:gd name="T4" fmla="*/ 2147483647 w 498"/>
              <a:gd name="T5" fmla="*/ 2147483647 h 864"/>
              <a:gd name="T6" fmla="*/ 2147483647 w 498"/>
              <a:gd name="T7" fmla="*/ 2147483647 h 864"/>
              <a:gd name="T8" fmla="*/ 2147483647 w 498"/>
              <a:gd name="T9" fmla="*/ 2147483647 h 864"/>
              <a:gd name="T10" fmla="*/ 2147483647 w 498"/>
              <a:gd name="T11" fmla="*/ 2147483647 h 864"/>
              <a:gd name="T12" fmla="*/ 2147483647 w 498"/>
              <a:gd name="T13" fmla="*/ 2147483647 h 864"/>
              <a:gd name="T14" fmla="*/ 2147483647 w 498"/>
              <a:gd name="T15" fmla="*/ 2147483647 h 864"/>
              <a:gd name="T16" fmla="*/ 2147483647 w 498"/>
              <a:gd name="T17" fmla="*/ 2147483647 h 864"/>
              <a:gd name="T18" fmla="*/ 2147483647 w 498"/>
              <a:gd name="T19" fmla="*/ 2147483647 h 864"/>
              <a:gd name="T20" fmla="*/ 2147483647 w 498"/>
              <a:gd name="T21" fmla="*/ 2147483647 h 864"/>
              <a:gd name="T22" fmla="*/ 2147483647 w 498"/>
              <a:gd name="T23" fmla="*/ 2147483647 h 864"/>
              <a:gd name="T24" fmla="*/ 2147483647 w 498"/>
              <a:gd name="T25" fmla="*/ 2147483647 h 864"/>
              <a:gd name="T26" fmla="*/ 2147483647 w 498"/>
              <a:gd name="T27" fmla="*/ 0 h 864"/>
              <a:gd name="T28" fmla="*/ 2147483647 w 498"/>
              <a:gd name="T29" fmla="*/ 2147483647 h 864"/>
              <a:gd name="T30" fmla="*/ 2147483647 w 498"/>
              <a:gd name="T31" fmla="*/ 2147483647 h 864"/>
              <a:gd name="T32" fmla="*/ 2147483647 w 498"/>
              <a:gd name="T33" fmla="*/ 2147483647 h 864"/>
              <a:gd name="T34" fmla="*/ 2147483647 w 498"/>
              <a:gd name="T35" fmla="*/ 2147483647 h 864"/>
              <a:gd name="T36" fmla="*/ 2147483647 w 498"/>
              <a:gd name="T37" fmla="*/ 2147483647 h 864"/>
              <a:gd name="T38" fmla="*/ 2147483647 w 498"/>
              <a:gd name="T39" fmla="*/ 2147483647 h 864"/>
              <a:gd name="T40" fmla="*/ 2147483647 w 498"/>
              <a:gd name="T41" fmla="*/ 2147483647 h 864"/>
              <a:gd name="T42" fmla="*/ 2147483647 w 498"/>
              <a:gd name="T43" fmla="*/ 2147483647 h 864"/>
              <a:gd name="T44" fmla="*/ 2147483647 w 498"/>
              <a:gd name="T45" fmla="*/ 2147483647 h 864"/>
              <a:gd name="T46" fmla="*/ 2147483647 w 498"/>
              <a:gd name="T47" fmla="*/ 2147483647 h 864"/>
              <a:gd name="T48" fmla="*/ 2147483647 w 498"/>
              <a:gd name="T49" fmla="*/ 2147483647 h 864"/>
              <a:gd name="T50" fmla="*/ 2147483647 w 498"/>
              <a:gd name="T51" fmla="*/ 2147483647 h 864"/>
              <a:gd name="T52" fmla="*/ 2147483647 w 498"/>
              <a:gd name="T53" fmla="*/ 2147483647 h 864"/>
              <a:gd name="T54" fmla="*/ 2147483647 w 498"/>
              <a:gd name="T55" fmla="*/ 2147483647 h 864"/>
              <a:gd name="T56" fmla="*/ 2147483647 w 498"/>
              <a:gd name="T57" fmla="*/ 2147483647 h 864"/>
              <a:gd name="T58" fmla="*/ 2147483647 w 498"/>
              <a:gd name="T59" fmla="*/ 2147483647 h 864"/>
              <a:gd name="T60" fmla="*/ 2147483647 w 498"/>
              <a:gd name="T61" fmla="*/ 2147483647 h 864"/>
              <a:gd name="T62" fmla="*/ 2147483647 w 498"/>
              <a:gd name="T63" fmla="*/ 2147483647 h 864"/>
              <a:gd name="T64" fmla="*/ 2147483647 w 498"/>
              <a:gd name="T65" fmla="*/ 2147483647 h 864"/>
              <a:gd name="T66" fmla="*/ 2147483647 w 498"/>
              <a:gd name="T67" fmla="*/ 2147483647 h 864"/>
              <a:gd name="T68" fmla="*/ 2147483647 w 498"/>
              <a:gd name="T69" fmla="*/ 2147483647 h 864"/>
              <a:gd name="T70" fmla="*/ 0 w 498"/>
              <a:gd name="T71" fmla="*/ 2147483647 h 86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498" h="864">
                <a:moveTo>
                  <a:pt x="0" y="774"/>
                </a:moveTo>
                <a:lnTo>
                  <a:pt x="24" y="732"/>
                </a:lnTo>
                <a:lnTo>
                  <a:pt x="42" y="684"/>
                </a:lnTo>
                <a:lnTo>
                  <a:pt x="66" y="654"/>
                </a:lnTo>
                <a:lnTo>
                  <a:pt x="78" y="618"/>
                </a:lnTo>
                <a:lnTo>
                  <a:pt x="36" y="618"/>
                </a:lnTo>
                <a:lnTo>
                  <a:pt x="18" y="612"/>
                </a:lnTo>
                <a:lnTo>
                  <a:pt x="36" y="582"/>
                </a:lnTo>
                <a:lnTo>
                  <a:pt x="42" y="534"/>
                </a:lnTo>
                <a:lnTo>
                  <a:pt x="72" y="498"/>
                </a:lnTo>
                <a:lnTo>
                  <a:pt x="84" y="468"/>
                </a:lnTo>
                <a:lnTo>
                  <a:pt x="90" y="402"/>
                </a:lnTo>
                <a:lnTo>
                  <a:pt x="120" y="360"/>
                </a:lnTo>
                <a:lnTo>
                  <a:pt x="138" y="300"/>
                </a:lnTo>
                <a:lnTo>
                  <a:pt x="162" y="276"/>
                </a:lnTo>
                <a:lnTo>
                  <a:pt x="186" y="264"/>
                </a:lnTo>
                <a:lnTo>
                  <a:pt x="198" y="240"/>
                </a:lnTo>
                <a:lnTo>
                  <a:pt x="228" y="252"/>
                </a:lnTo>
                <a:lnTo>
                  <a:pt x="228" y="228"/>
                </a:lnTo>
                <a:lnTo>
                  <a:pt x="210" y="222"/>
                </a:lnTo>
                <a:lnTo>
                  <a:pt x="228" y="96"/>
                </a:lnTo>
                <a:lnTo>
                  <a:pt x="252" y="72"/>
                </a:lnTo>
                <a:lnTo>
                  <a:pt x="282" y="66"/>
                </a:lnTo>
                <a:lnTo>
                  <a:pt x="312" y="66"/>
                </a:lnTo>
                <a:lnTo>
                  <a:pt x="330" y="36"/>
                </a:lnTo>
                <a:lnTo>
                  <a:pt x="336" y="18"/>
                </a:lnTo>
                <a:lnTo>
                  <a:pt x="366" y="18"/>
                </a:lnTo>
                <a:lnTo>
                  <a:pt x="390" y="0"/>
                </a:lnTo>
                <a:lnTo>
                  <a:pt x="420" y="6"/>
                </a:lnTo>
                <a:lnTo>
                  <a:pt x="444" y="6"/>
                </a:lnTo>
                <a:lnTo>
                  <a:pt x="468" y="0"/>
                </a:lnTo>
                <a:lnTo>
                  <a:pt x="486" y="24"/>
                </a:lnTo>
                <a:lnTo>
                  <a:pt x="492" y="48"/>
                </a:lnTo>
                <a:lnTo>
                  <a:pt x="498" y="132"/>
                </a:lnTo>
                <a:lnTo>
                  <a:pt x="492" y="174"/>
                </a:lnTo>
                <a:lnTo>
                  <a:pt x="492" y="198"/>
                </a:lnTo>
                <a:lnTo>
                  <a:pt x="474" y="210"/>
                </a:lnTo>
                <a:lnTo>
                  <a:pt x="462" y="240"/>
                </a:lnTo>
                <a:lnTo>
                  <a:pt x="456" y="264"/>
                </a:lnTo>
                <a:lnTo>
                  <a:pt x="474" y="294"/>
                </a:lnTo>
                <a:lnTo>
                  <a:pt x="462" y="348"/>
                </a:lnTo>
                <a:lnTo>
                  <a:pt x="462" y="360"/>
                </a:lnTo>
                <a:lnTo>
                  <a:pt x="462" y="390"/>
                </a:lnTo>
                <a:lnTo>
                  <a:pt x="468" y="426"/>
                </a:lnTo>
                <a:lnTo>
                  <a:pt x="462" y="450"/>
                </a:lnTo>
                <a:lnTo>
                  <a:pt x="450" y="480"/>
                </a:lnTo>
                <a:lnTo>
                  <a:pt x="444" y="516"/>
                </a:lnTo>
                <a:lnTo>
                  <a:pt x="444" y="552"/>
                </a:lnTo>
                <a:lnTo>
                  <a:pt x="456" y="576"/>
                </a:lnTo>
                <a:lnTo>
                  <a:pt x="456" y="612"/>
                </a:lnTo>
                <a:lnTo>
                  <a:pt x="462" y="630"/>
                </a:lnTo>
                <a:lnTo>
                  <a:pt x="462" y="672"/>
                </a:lnTo>
                <a:lnTo>
                  <a:pt x="468" y="702"/>
                </a:lnTo>
                <a:lnTo>
                  <a:pt x="456" y="702"/>
                </a:lnTo>
                <a:lnTo>
                  <a:pt x="456" y="732"/>
                </a:lnTo>
                <a:lnTo>
                  <a:pt x="438" y="774"/>
                </a:lnTo>
                <a:lnTo>
                  <a:pt x="396" y="828"/>
                </a:lnTo>
                <a:lnTo>
                  <a:pt x="366" y="804"/>
                </a:lnTo>
                <a:lnTo>
                  <a:pt x="384" y="786"/>
                </a:lnTo>
                <a:lnTo>
                  <a:pt x="372" y="774"/>
                </a:lnTo>
                <a:lnTo>
                  <a:pt x="330" y="774"/>
                </a:lnTo>
                <a:lnTo>
                  <a:pt x="318" y="822"/>
                </a:lnTo>
                <a:lnTo>
                  <a:pt x="246" y="864"/>
                </a:lnTo>
                <a:lnTo>
                  <a:pt x="240" y="822"/>
                </a:lnTo>
                <a:lnTo>
                  <a:pt x="234" y="792"/>
                </a:lnTo>
                <a:lnTo>
                  <a:pt x="216" y="774"/>
                </a:lnTo>
                <a:lnTo>
                  <a:pt x="186" y="780"/>
                </a:lnTo>
                <a:lnTo>
                  <a:pt x="162" y="780"/>
                </a:lnTo>
                <a:lnTo>
                  <a:pt x="162" y="762"/>
                </a:lnTo>
                <a:lnTo>
                  <a:pt x="144" y="762"/>
                </a:lnTo>
                <a:lnTo>
                  <a:pt x="60" y="756"/>
                </a:lnTo>
                <a:lnTo>
                  <a:pt x="0" y="774"/>
                </a:lnTo>
                <a:close/>
              </a:path>
            </a:pathLst>
          </a:custGeom>
          <a:solidFill>
            <a:srgbClr val="FF0000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26" name="Freeform 68" descr="Light downward diagonal"/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5920570" y="3260595"/>
            <a:ext cx="1351567" cy="990235"/>
          </a:xfrm>
          <a:custGeom>
            <a:avLst/>
            <a:gdLst>
              <a:gd name="T0" fmla="*/ 2147483647 w 750"/>
              <a:gd name="T1" fmla="*/ 2147483647 h 636"/>
              <a:gd name="T2" fmla="*/ 2147483647 w 750"/>
              <a:gd name="T3" fmla="*/ 2147483647 h 636"/>
              <a:gd name="T4" fmla="*/ 2147483647 w 750"/>
              <a:gd name="T5" fmla="*/ 2147483647 h 636"/>
              <a:gd name="T6" fmla="*/ 2147483647 w 750"/>
              <a:gd name="T7" fmla="*/ 2147483647 h 636"/>
              <a:gd name="T8" fmla="*/ 2147483647 w 750"/>
              <a:gd name="T9" fmla="*/ 2147483647 h 636"/>
              <a:gd name="T10" fmla="*/ 2147483647 w 750"/>
              <a:gd name="T11" fmla="*/ 2147483647 h 636"/>
              <a:gd name="T12" fmla="*/ 2147483647 w 750"/>
              <a:gd name="T13" fmla="*/ 2147483647 h 636"/>
              <a:gd name="T14" fmla="*/ 2147483647 w 750"/>
              <a:gd name="T15" fmla="*/ 2147483647 h 636"/>
              <a:gd name="T16" fmla="*/ 2147483647 w 750"/>
              <a:gd name="T17" fmla="*/ 2147483647 h 636"/>
              <a:gd name="T18" fmla="*/ 2147483647 w 750"/>
              <a:gd name="T19" fmla="*/ 2147483647 h 636"/>
              <a:gd name="T20" fmla="*/ 2147483647 w 750"/>
              <a:gd name="T21" fmla="*/ 2147483647 h 636"/>
              <a:gd name="T22" fmla="*/ 2147483647 w 750"/>
              <a:gd name="T23" fmla="*/ 2147483647 h 636"/>
              <a:gd name="T24" fmla="*/ 2147483647 w 750"/>
              <a:gd name="T25" fmla="*/ 2147483647 h 636"/>
              <a:gd name="T26" fmla="*/ 2147483647 w 750"/>
              <a:gd name="T27" fmla="*/ 2147483647 h 636"/>
              <a:gd name="T28" fmla="*/ 2147483647 w 750"/>
              <a:gd name="T29" fmla="*/ 2147483647 h 636"/>
              <a:gd name="T30" fmla="*/ 2147483647 w 750"/>
              <a:gd name="T31" fmla="*/ 2147483647 h 636"/>
              <a:gd name="T32" fmla="*/ 2147483647 w 750"/>
              <a:gd name="T33" fmla="*/ 0 h 636"/>
              <a:gd name="T34" fmla="*/ 2147483647 w 750"/>
              <a:gd name="T35" fmla="*/ 2147483647 h 636"/>
              <a:gd name="T36" fmla="*/ 2147483647 w 750"/>
              <a:gd name="T37" fmla="*/ 2147483647 h 636"/>
              <a:gd name="T38" fmla="*/ 2147483647 w 750"/>
              <a:gd name="T39" fmla="*/ 2147483647 h 636"/>
              <a:gd name="T40" fmla="*/ 2147483647 w 750"/>
              <a:gd name="T41" fmla="*/ 2147483647 h 636"/>
              <a:gd name="T42" fmla="*/ 2147483647 w 750"/>
              <a:gd name="T43" fmla="*/ 2147483647 h 636"/>
              <a:gd name="T44" fmla="*/ 2147483647 w 750"/>
              <a:gd name="T45" fmla="*/ 2147483647 h 636"/>
              <a:gd name="T46" fmla="*/ 2147483647 w 750"/>
              <a:gd name="T47" fmla="*/ 2147483647 h 636"/>
              <a:gd name="T48" fmla="*/ 2147483647 w 750"/>
              <a:gd name="T49" fmla="*/ 2147483647 h 636"/>
              <a:gd name="T50" fmla="*/ 2147483647 w 750"/>
              <a:gd name="T51" fmla="*/ 2147483647 h 636"/>
              <a:gd name="T52" fmla="*/ 2147483647 w 750"/>
              <a:gd name="T53" fmla="*/ 2147483647 h 636"/>
              <a:gd name="T54" fmla="*/ 2147483647 w 750"/>
              <a:gd name="T55" fmla="*/ 2147483647 h 636"/>
              <a:gd name="T56" fmla="*/ 2147483647 w 750"/>
              <a:gd name="T57" fmla="*/ 2147483647 h 636"/>
              <a:gd name="T58" fmla="*/ 2147483647 w 750"/>
              <a:gd name="T59" fmla="*/ 2147483647 h 636"/>
              <a:gd name="T60" fmla="*/ 2147483647 w 750"/>
              <a:gd name="T61" fmla="*/ 2147483647 h 636"/>
              <a:gd name="T62" fmla="*/ 2147483647 w 750"/>
              <a:gd name="T63" fmla="*/ 2147483647 h 636"/>
              <a:gd name="T64" fmla="*/ 0 w 750"/>
              <a:gd name="T65" fmla="*/ 2147483647 h 6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50" h="636">
                <a:moveTo>
                  <a:pt x="0" y="612"/>
                </a:moveTo>
                <a:lnTo>
                  <a:pt x="12" y="588"/>
                </a:lnTo>
                <a:lnTo>
                  <a:pt x="54" y="522"/>
                </a:lnTo>
                <a:lnTo>
                  <a:pt x="78" y="522"/>
                </a:lnTo>
                <a:lnTo>
                  <a:pt x="90" y="486"/>
                </a:lnTo>
                <a:lnTo>
                  <a:pt x="78" y="486"/>
                </a:lnTo>
                <a:lnTo>
                  <a:pt x="90" y="462"/>
                </a:lnTo>
                <a:lnTo>
                  <a:pt x="84" y="396"/>
                </a:lnTo>
                <a:lnTo>
                  <a:pt x="66" y="360"/>
                </a:lnTo>
                <a:lnTo>
                  <a:pt x="96" y="342"/>
                </a:lnTo>
                <a:lnTo>
                  <a:pt x="138" y="318"/>
                </a:lnTo>
                <a:lnTo>
                  <a:pt x="168" y="318"/>
                </a:lnTo>
                <a:lnTo>
                  <a:pt x="186" y="288"/>
                </a:lnTo>
                <a:lnTo>
                  <a:pt x="192" y="264"/>
                </a:lnTo>
                <a:lnTo>
                  <a:pt x="174" y="228"/>
                </a:lnTo>
                <a:lnTo>
                  <a:pt x="204" y="180"/>
                </a:lnTo>
                <a:lnTo>
                  <a:pt x="246" y="126"/>
                </a:lnTo>
                <a:lnTo>
                  <a:pt x="306" y="90"/>
                </a:lnTo>
                <a:lnTo>
                  <a:pt x="330" y="78"/>
                </a:lnTo>
                <a:lnTo>
                  <a:pt x="360" y="108"/>
                </a:lnTo>
                <a:lnTo>
                  <a:pt x="330" y="138"/>
                </a:lnTo>
                <a:lnTo>
                  <a:pt x="318" y="174"/>
                </a:lnTo>
                <a:lnTo>
                  <a:pt x="342" y="162"/>
                </a:lnTo>
                <a:lnTo>
                  <a:pt x="384" y="144"/>
                </a:lnTo>
                <a:lnTo>
                  <a:pt x="432" y="120"/>
                </a:lnTo>
                <a:lnTo>
                  <a:pt x="450" y="102"/>
                </a:lnTo>
                <a:lnTo>
                  <a:pt x="474" y="84"/>
                </a:lnTo>
                <a:lnTo>
                  <a:pt x="522" y="78"/>
                </a:lnTo>
                <a:lnTo>
                  <a:pt x="558" y="60"/>
                </a:lnTo>
                <a:lnTo>
                  <a:pt x="642" y="54"/>
                </a:lnTo>
                <a:lnTo>
                  <a:pt x="654" y="42"/>
                </a:lnTo>
                <a:lnTo>
                  <a:pt x="618" y="18"/>
                </a:lnTo>
                <a:lnTo>
                  <a:pt x="630" y="6"/>
                </a:lnTo>
                <a:lnTo>
                  <a:pt x="660" y="0"/>
                </a:lnTo>
                <a:lnTo>
                  <a:pt x="732" y="36"/>
                </a:lnTo>
                <a:lnTo>
                  <a:pt x="744" y="36"/>
                </a:lnTo>
                <a:lnTo>
                  <a:pt x="738" y="66"/>
                </a:lnTo>
                <a:lnTo>
                  <a:pt x="750" y="96"/>
                </a:lnTo>
                <a:lnTo>
                  <a:pt x="714" y="126"/>
                </a:lnTo>
                <a:lnTo>
                  <a:pt x="690" y="156"/>
                </a:lnTo>
                <a:lnTo>
                  <a:pt x="666" y="186"/>
                </a:lnTo>
                <a:lnTo>
                  <a:pt x="630" y="198"/>
                </a:lnTo>
                <a:lnTo>
                  <a:pt x="594" y="216"/>
                </a:lnTo>
                <a:lnTo>
                  <a:pt x="564" y="258"/>
                </a:lnTo>
                <a:lnTo>
                  <a:pt x="546" y="288"/>
                </a:lnTo>
                <a:lnTo>
                  <a:pt x="510" y="306"/>
                </a:lnTo>
                <a:lnTo>
                  <a:pt x="480" y="324"/>
                </a:lnTo>
                <a:lnTo>
                  <a:pt x="444" y="342"/>
                </a:lnTo>
                <a:lnTo>
                  <a:pt x="402" y="366"/>
                </a:lnTo>
                <a:lnTo>
                  <a:pt x="384" y="408"/>
                </a:lnTo>
                <a:lnTo>
                  <a:pt x="360" y="426"/>
                </a:lnTo>
                <a:lnTo>
                  <a:pt x="336" y="456"/>
                </a:lnTo>
                <a:lnTo>
                  <a:pt x="312" y="486"/>
                </a:lnTo>
                <a:lnTo>
                  <a:pt x="294" y="498"/>
                </a:lnTo>
                <a:lnTo>
                  <a:pt x="276" y="516"/>
                </a:lnTo>
                <a:lnTo>
                  <a:pt x="282" y="534"/>
                </a:lnTo>
                <a:lnTo>
                  <a:pt x="276" y="552"/>
                </a:lnTo>
                <a:lnTo>
                  <a:pt x="246" y="576"/>
                </a:lnTo>
                <a:lnTo>
                  <a:pt x="210" y="570"/>
                </a:lnTo>
                <a:lnTo>
                  <a:pt x="186" y="582"/>
                </a:lnTo>
                <a:lnTo>
                  <a:pt x="162" y="594"/>
                </a:lnTo>
                <a:lnTo>
                  <a:pt x="132" y="582"/>
                </a:lnTo>
                <a:lnTo>
                  <a:pt x="102" y="588"/>
                </a:lnTo>
                <a:lnTo>
                  <a:pt x="84" y="600"/>
                </a:lnTo>
                <a:lnTo>
                  <a:pt x="60" y="636"/>
                </a:lnTo>
                <a:lnTo>
                  <a:pt x="0" y="612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27" name="Freeform 69" descr="Light downward diagonal"/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5920570" y="2690292"/>
            <a:ext cx="982958" cy="926054"/>
          </a:xfrm>
          <a:custGeom>
            <a:avLst/>
            <a:gdLst>
              <a:gd name="T0" fmla="*/ 2147483647 w 546"/>
              <a:gd name="T1" fmla="*/ 2147483647 h 594"/>
              <a:gd name="T2" fmla="*/ 2147483647 w 546"/>
              <a:gd name="T3" fmla="*/ 2147483647 h 594"/>
              <a:gd name="T4" fmla="*/ 2147483647 w 546"/>
              <a:gd name="T5" fmla="*/ 2147483647 h 594"/>
              <a:gd name="T6" fmla="*/ 2147483647 w 546"/>
              <a:gd name="T7" fmla="*/ 2147483647 h 594"/>
              <a:gd name="T8" fmla="*/ 2147483647 w 546"/>
              <a:gd name="T9" fmla="*/ 2147483647 h 594"/>
              <a:gd name="T10" fmla="*/ 2147483647 w 546"/>
              <a:gd name="T11" fmla="*/ 2147483647 h 594"/>
              <a:gd name="T12" fmla="*/ 2147483647 w 546"/>
              <a:gd name="T13" fmla="*/ 2147483647 h 594"/>
              <a:gd name="T14" fmla="*/ 0 w 546"/>
              <a:gd name="T15" fmla="*/ 2147483647 h 594"/>
              <a:gd name="T16" fmla="*/ 2147483647 w 546"/>
              <a:gd name="T17" fmla="*/ 2147483647 h 594"/>
              <a:gd name="T18" fmla="*/ 2147483647 w 546"/>
              <a:gd name="T19" fmla="*/ 2147483647 h 594"/>
              <a:gd name="T20" fmla="*/ 2147483647 w 546"/>
              <a:gd name="T21" fmla="*/ 2147483647 h 594"/>
              <a:gd name="T22" fmla="*/ 2147483647 w 546"/>
              <a:gd name="T23" fmla="*/ 2147483647 h 594"/>
              <a:gd name="T24" fmla="*/ 2147483647 w 546"/>
              <a:gd name="T25" fmla="*/ 2147483647 h 594"/>
              <a:gd name="T26" fmla="*/ 2147483647 w 546"/>
              <a:gd name="T27" fmla="*/ 2147483647 h 594"/>
              <a:gd name="T28" fmla="*/ 2147483647 w 546"/>
              <a:gd name="T29" fmla="*/ 2147483647 h 594"/>
              <a:gd name="T30" fmla="*/ 2147483647 w 546"/>
              <a:gd name="T31" fmla="*/ 2147483647 h 594"/>
              <a:gd name="T32" fmla="*/ 2147483647 w 546"/>
              <a:gd name="T33" fmla="*/ 2147483647 h 594"/>
              <a:gd name="T34" fmla="*/ 2147483647 w 546"/>
              <a:gd name="T35" fmla="*/ 2147483647 h 594"/>
              <a:gd name="T36" fmla="*/ 2147483647 w 546"/>
              <a:gd name="T37" fmla="*/ 2147483647 h 594"/>
              <a:gd name="T38" fmla="*/ 2147483647 w 546"/>
              <a:gd name="T39" fmla="*/ 2147483647 h 594"/>
              <a:gd name="T40" fmla="*/ 2147483647 w 546"/>
              <a:gd name="T41" fmla="*/ 2147483647 h 594"/>
              <a:gd name="T42" fmla="*/ 2147483647 w 546"/>
              <a:gd name="T43" fmla="*/ 2147483647 h 594"/>
              <a:gd name="T44" fmla="*/ 2147483647 w 546"/>
              <a:gd name="T45" fmla="*/ 2147483647 h 594"/>
              <a:gd name="T46" fmla="*/ 2147483647 w 546"/>
              <a:gd name="T47" fmla="*/ 0 h 594"/>
              <a:gd name="T48" fmla="*/ 2147483647 w 546"/>
              <a:gd name="T49" fmla="*/ 2147483647 h 594"/>
              <a:gd name="T50" fmla="*/ 2147483647 w 546"/>
              <a:gd name="T51" fmla="*/ 2147483647 h 594"/>
              <a:gd name="T52" fmla="*/ 2147483647 w 546"/>
              <a:gd name="T53" fmla="*/ 2147483647 h 594"/>
              <a:gd name="T54" fmla="*/ 2147483647 w 546"/>
              <a:gd name="T55" fmla="*/ 2147483647 h 594"/>
              <a:gd name="T56" fmla="*/ 2147483647 w 546"/>
              <a:gd name="T57" fmla="*/ 2147483647 h 594"/>
              <a:gd name="T58" fmla="*/ 2147483647 w 546"/>
              <a:gd name="T59" fmla="*/ 2147483647 h 594"/>
              <a:gd name="T60" fmla="*/ 2147483647 w 546"/>
              <a:gd name="T61" fmla="*/ 2147483647 h 594"/>
              <a:gd name="T62" fmla="*/ 2147483647 w 546"/>
              <a:gd name="T63" fmla="*/ 2147483647 h 594"/>
              <a:gd name="T64" fmla="*/ 2147483647 w 546"/>
              <a:gd name="T65" fmla="*/ 2147483647 h 594"/>
              <a:gd name="T66" fmla="*/ 2147483647 w 546"/>
              <a:gd name="T67" fmla="*/ 2147483647 h 594"/>
              <a:gd name="T68" fmla="*/ 2147483647 w 546"/>
              <a:gd name="T69" fmla="*/ 2147483647 h 594"/>
              <a:gd name="T70" fmla="*/ 2147483647 w 546"/>
              <a:gd name="T71" fmla="*/ 2147483647 h 594"/>
              <a:gd name="T72" fmla="*/ 2147483647 w 546"/>
              <a:gd name="T73" fmla="*/ 2147483647 h 594"/>
              <a:gd name="T74" fmla="*/ 2147483647 w 546"/>
              <a:gd name="T75" fmla="*/ 2147483647 h 594"/>
              <a:gd name="T76" fmla="*/ 2147483647 w 546"/>
              <a:gd name="T77" fmla="*/ 2147483647 h 594"/>
              <a:gd name="T78" fmla="*/ 2147483647 w 546"/>
              <a:gd name="T79" fmla="*/ 2147483647 h 594"/>
              <a:gd name="T80" fmla="*/ 2147483647 w 546"/>
              <a:gd name="T81" fmla="*/ 2147483647 h 594"/>
              <a:gd name="T82" fmla="*/ 2147483647 w 546"/>
              <a:gd name="T83" fmla="*/ 2147483647 h 594"/>
              <a:gd name="T84" fmla="*/ 2147483647 w 546"/>
              <a:gd name="T85" fmla="*/ 2147483647 h 59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46" h="594">
                <a:moveTo>
                  <a:pt x="174" y="594"/>
                </a:moveTo>
                <a:lnTo>
                  <a:pt x="150" y="594"/>
                </a:lnTo>
                <a:lnTo>
                  <a:pt x="144" y="582"/>
                </a:lnTo>
                <a:lnTo>
                  <a:pt x="114" y="552"/>
                </a:lnTo>
                <a:lnTo>
                  <a:pt x="54" y="516"/>
                </a:lnTo>
                <a:lnTo>
                  <a:pt x="48" y="474"/>
                </a:lnTo>
                <a:lnTo>
                  <a:pt x="30" y="450"/>
                </a:lnTo>
                <a:lnTo>
                  <a:pt x="0" y="450"/>
                </a:lnTo>
                <a:lnTo>
                  <a:pt x="12" y="420"/>
                </a:lnTo>
                <a:lnTo>
                  <a:pt x="42" y="390"/>
                </a:lnTo>
                <a:lnTo>
                  <a:pt x="54" y="360"/>
                </a:lnTo>
                <a:lnTo>
                  <a:pt x="66" y="330"/>
                </a:lnTo>
                <a:lnTo>
                  <a:pt x="66" y="288"/>
                </a:lnTo>
                <a:lnTo>
                  <a:pt x="60" y="246"/>
                </a:lnTo>
                <a:lnTo>
                  <a:pt x="84" y="216"/>
                </a:lnTo>
                <a:lnTo>
                  <a:pt x="108" y="174"/>
                </a:lnTo>
                <a:lnTo>
                  <a:pt x="96" y="156"/>
                </a:lnTo>
                <a:lnTo>
                  <a:pt x="132" y="120"/>
                </a:lnTo>
                <a:lnTo>
                  <a:pt x="150" y="120"/>
                </a:lnTo>
                <a:lnTo>
                  <a:pt x="180" y="96"/>
                </a:lnTo>
                <a:lnTo>
                  <a:pt x="204" y="72"/>
                </a:lnTo>
                <a:lnTo>
                  <a:pt x="252" y="48"/>
                </a:lnTo>
                <a:lnTo>
                  <a:pt x="282" y="42"/>
                </a:lnTo>
                <a:lnTo>
                  <a:pt x="378" y="0"/>
                </a:lnTo>
                <a:lnTo>
                  <a:pt x="408" y="12"/>
                </a:lnTo>
                <a:lnTo>
                  <a:pt x="432" y="42"/>
                </a:lnTo>
                <a:lnTo>
                  <a:pt x="480" y="18"/>
                </a:lnTo>
                <a:lnTo>
                  <a:pt x="504" y="24"/>
                </a:lnTo>
                <a:lnTo>
                  <a:pt x="522" y="54"/>
                </a:lnTo>
                <a:lnTo>
                  <a:pt x="516" y="90"/>
                </a:lnTo>
                <a:lnTo>
                  <a:pt x="516" y="138"/>
                </a:lnTo>
                <a:lnTo>
                  <a:pt x="546" y="162"/>
                </a:lnTo>
                <a:lnTo>
                  <a:pt x="534" y="168"/>
                </a:lnTo>
                <a:lnTo>
                  <a:pt x="486" y="174"/>
                </a:lnTo>
                <a:lnTo>
                  <a:pt x="444" y="186"/>
                </a:lnTo>
                <a:lnTo>
                  <a:pt x="414" y="210"/>
                </a:lnTo>
                <a:lnTo>
                  <a:pt x="354" y="324"/>
                </a:lnTo>
                <a:lnTo>
                  <a:pt x="348" y="366"/>
                </a:lnTo>
                <a:lnTo>
                  <a:pt x="330" y="420"/>
                </a:lnTo>
                <a:lnTo>
                  <a:pt x="306" y="456"/>
                </a:lnTo>
                <a:lnTo>
                  <a:pt x="246" y="492"/>
                </a:lnTo>
                <a:lnTo>
                  <a:pt x="204" y="546"/>
                </a:lnTo>
                <a:lnTo>
                  <a:pt x="174" y="594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28" name="Freeform 70"/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6146137" y="2325372"/>
            <a:ext cx="1190187" cy="515288"/>
          </a:xfrm>
          <a:custGeom>
            <a:avLst/>
            <a:gdLst>
              <a:gd name="T0" fmla="*/ 0 w 660"/>
              <a:gd name="T1" fmla="*/ 2147483647 h 330"/>
              <a:gd name="T2" fmla="*/ 2147483647 w 660"/>
              <a:gd name="T3" fmla="*/ 2147483647 h 330"/>
              <a:gd name="T4" fmla="*/ 2147483647 w 660"/>
              <a:gd name="T5" fmla="*/ 2147483647 h 330"/>
              <a:gd name="T6" fmla="*/ 2147483647 w 660"/>
              <a:gd name="T7" fmla="*/ 2147483647 h 330"/>
              <a:gd name="T8" fmla="*/ 2147483647 w 660"/>
              <a:gd name="T9" fmla="*/ 2147483647 h 330"/>
              <a:gd name="T10" fmla="*/ 2147483647 w 660"/>
              <a:gd name="T11" fmla="*/ 2147483647 h 330"/>
              <a:gd name="T12" fmla="*/ 2147483647 w 660"/>
              <a:gd name="T13" fmla="*/ 2147483647 h 330"/>
              <a:gd name="T14" fmla="*/ 2147483647 w 660"/>
              <a:gd name="T15" fmla="*/ 2147483647 h 330"/>
              <a:gd name="T16" fmla="*/ 2147483647 w 660"/>
              <a:gd name="T17" fmla="*/ 2147483647 h 330"/>
              <a:gd name="T18" fmla="*/ 2147483647 w 660"/>
              <a:gd name="T19" fmla="*/ 2147483647 h 330"/>
              <a:gd name="T20" fmla="*/ 2147483647 w 660"/>
              <a:gd name="T21" fmla="*/ 0 h 330"/>
              <a:gd name="T22" fmla="*/ 2147483647 w 660"/>
              <a:gd name="T23" fmla="*/ 2147483647 h 330"/>
              <a:gd name="T24" fmla="*/ 2147483647 w 660"/>
              <a:gd name="T25" fmla="*/ 0 h 330"/>
              <a:gd name="T26" fmla="*/ 2147483647 w 660"/>
              <a:gd name="T27" fmla="*/ 2147483647 h 330"/>
              <a:gd name="T28" fmla="*/ 2147483647 w 660"/>
              <a:gd name="T29" fmla="*/ 2147483647 h 330"/>
              <a:gd name="T30" fmla="*/ 2147483647 w 660"/>
              <a:gd name="T31" fmla="*/ 2147483647 h 330"/>
              <a:gd name="T32" fmla="*/ 2147483647 w 660"/>
              <a:gd name="T33" fmla="*/ 2147483647 h 330"/>
              <a:gd name="T34" fmla="*/ 2147483647 w 660"/>
              <a:gd name="T35" fmla="*/ 2147483647 h 330"/>
              <a:gd name="T36" fmla="*/ 2147483647 w 660"/>
              <a:gd name="T37" fmla="*/ 2147483647 h 330"/>
              <a:gd name="T38" fmla="*/ 2147483647 w 660"/>
              <a:gd name="T39" fmla="*/ 2147483647 h 330"/>
              <a:gd name="T40" fmla="*/ 2147483647 w 660"/>
              <a:gd name="T41" fmla="*/ 2147483647 h 330"/>
              <a:gd name="T42" fmla="*/ 2147483647 w 660"/>
              <a:gd name="T43" fmla="*/ 2147483647 h 330"/>
              <a:gd name="T44" fmla="*/ 2147483647 w 660"/>
              <a:gd name="T45" fmla="*/ 2147483647 h 330"/>
              <a:gd name="T46" fmla="*/ 2147483647 w 660"/>
              <a:gd name="T47" fmla="*/ 2147483647 h 330"/>
              <a:gd name="T48" fmla="*/ 2147483647 w 660"/>
              <a:gd name="T49" fmla="*/ 2147483647 h 330"/>
              <a:gd name="T50" fmla="*/ 2147483647 w 660"/>
              <a:gd name="T51" fmla="*/ 2147483647 h 330"/>
              <a:gd name="T52" fmla="*/ 2147483647 w 660"/>
              <a:gd name="T53" fmla="*/ 2147483647 h 330"/>
              <a:gd name="T54" fmla="*/ 2147483647 w 660"/>
              <a:gd name="T55" fmla="*/ 2147483647 h 330"/>
              <a:gd name="T56" fmla="*/ 2147483647 w 660"/>
              <a:gd name="T57" fmla="*/ 2147483647 h 330"/>
              <a:gd name="T58" fmla="*/ 2147483647 w 660"/>
              <a:gd name="T59" fmla="*/ 2147483647 h 330"/>
              <a:gd name="T60" fmla="*/ 2147483647 w 660"/>
              <a:gd name="T61" fmla="*/ 2147483647 h 330"/>
              <a:gd name="T62" fmla="*/ 2147483647 w 660"/>
              <a:gd name="T63" fmla="*/ 2147483647 h 330"/>
              <a:gd name="T64" fmla="*/ 2147483647 w 660"/>
              <a:gd name="T65" fmla="*/ 2147483647 h 330"/>
              <a:gd name="T66" fmla="*/ 2147483647 w 660"/>
              <a:gd name="T67" fmla="*/ 2147483647 h 330"/>
              <a:gd name="T68" fmla="*/ 2147483647 w 660"/>
              <a:gd name="T69" fmla="*/ 2147483647 h 330"/>
              <a:gd name="T70" fmla="*/ 2147483647 w 660"/>
              <a:gd name="T71" fmla="*/ 2147483647 h 330"/>
              <a:gd name="T72" fmla="*/ 2147483647 w 660"/>
              <a:gd name="T73" fmla="*/ 2147483647 h 330"/>
              <a:gd name="T74" fmla="*/ 2147483647 w 660"/>
              <a:gd name="T75" fmla="*/ 2147483647 h 330"/>
              <a:gd name="T76" fmla="*/ 2147483647 w 660"/>
              <a:gd name="T77" fmla="*/ 2147483647 h 330"/>
              <a:gd name="T78" fmla="*/ 2147483647 w 660"/>
              <a:gd name="T79" fmla="*/ 2147483647 h 330"/>
              <a:gd name="T80" fmla="*/ 2147483647 w 660"/>
              <a:gd name="T81" fmla="*/ 2147483647 h 330"/>
              <a:gd name="T82" fmla="*/ 2147483647 w 660"/>
              <a:gd name="T83" fmla="*/ 2147483647 h 330"/>
              <a:gd name="T84" fmla="*/ 2147483647 w 660"/>
              <a:gd name="T85" fmla="*/ 2147483647 h 330"/>
              <a:gd name="T86" fmla="*/ 2147483647 w 660"/>
              <a:gd name="T87" fmla="*/ 2147483647 h 330"/>
              <a:gd name="T88" fmla="*/ 2147483647 w 660"/>
              <a:gd name="T89" fmla="*/ 2147483647 h 330"/>
              <a:gd name="T90" fmla="*/ 2147483647 w 660"/>
              <a:gd name="T91" fmla="*/ 2147483647 h 330"/>
              <a:gd name="T92" fmla="*/ 2147483647 w 660"/>
              <a:gd name="T93" fmla="*/ 2147483647 h 330"/>
              <a:gd name="T94" fmla="*/ 2147483647 w 660"/>
              <a:gd name="T95" fmla="*/ 2147483647 h 330"/>
              <a:gd name="T96" fmla="*/ 2147483647 w 660"/>
              <a:gd name="T97" fmla="*/ 2147483647 h 330"/>
              <a:gd name="T98" fmla="*/ 2147483647 w 660"/>
              <a:gd name="T99" fmla="*/ 2147483647 h 330"/>
              <a:gd name="T100" fmla="*/ 2147483647 w 660"/>
              <a:gd name="T101" fmla="*/ 2147483647 h 330"/>
              <a:gd name="T102" fmla="*/ 2147483647 w 660"/>
              <a:gd name="T103" fmla="*/ 2147483647 h 330"/>
              <a:gd name="T104" fmla="*/ 0 w 660"/>
              <a:gd name="T105" fmla="*/ 2147483647 h 33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60" h="330">
                <a:moveTo>
                  <a:pt x="0" y="132"/>
                </a:moveTo>
                <a:lnTo>
                  <a:pt x="36" y="66"/>
                </a:lnTo>
                <a:lnTo>
                  <a:pt x="60" y="54"/>
                </a:lnTo>
                <a:lnTo>
                  <a:pt x="144" y="84"/>
                </a:lnTo>
                <a:lnTo>
                  <a:pt x="162" y="60"/>
                </a:lnTo>
                <a:lnTo>
                  <a:pt x="192" y="54"/>
                </a:lnTo>
                <a:lnTo>
                  <a:pt x="276" y="66"/>
                </a:lnTo>
                <a:lnTo>
                  <a:pt x="300" y="48"/>
                </a:lnTo>
                <a:lnTo>
                  <a:pt x="318" y="30"/>
                </a:lnTo>
                <a:lnTo>
                  <a:pt x="348" y="24"/>
                </a:lnTo>
                <a:lnTo>
                  <a:pt x="384" y="0"/>
                </a:lnTo>
                <a:lnTo>
                  <a:pt x="408" y="6"/>
                </a:lnTo>
                <a:lnTo>
                  <a:pt x="438" y="0"/>
                </a:lnTo>
                <a:lnTo>
                  <a:pt x="462" y="6"/>
                </a:lnTo>
                <a:lnTo>
                  <a:pt x="492" y="18"/>
                </a:lnTo>
                <a:lnTo>
                  <a:pt x="564" y="24"/>
                </a:lnTo>
                <a:lnTo>
                  <a:pt x="576" y="48"/>
                </a:lnTo>
                <a:lnTo>
                  <a:pt x="612" y="72"/>
                </a:lnTo>
                <a:lnTo>
                  <a:pt x="630" y="60"/>
                </a:lnTo>
                <a:lnTo>
                  <a:pt x="642" y="60"/>
                </a:lnTo>
                <a:lnTo>
                  <a:pt x="636" y="84"/>
                </a:lnTo>
                <a:lnTo>
                  <a:pt x="642" y="108"/>
                </a:lnTo>
                <a:lnTo>
                  <a:pt x="648" y="126"/>
                </a:lnTo>
                <a:lnTo>
                  <a:pt x="630" y="162"/>
                </a:lnTo>
                <a:lnTo>
                  <a:pt x="630" y="186"/>
                </a:lnTo>
                <a:lnTo>
                  <a:pt x="642" y="210"/>
                </a:lnTo>
                <a:lnTo>
                  <a:pt x="660" y="228"/>
                </a:lnTo>
                <a:lnTo>
                  <a:pt x="642" y="240"/>
                </a:lnTo>
                <a:lnTo>
                  <a:pt x="600" y="252"/>
                </a:lnTo>
                <a:lnTo>
                  <a:pt x="558" y="270"/>
                </a:lnTo>
                <a:lnTo>
                  <a:pt x="522" y="282"/>
                </a:lnTo>
                <a:lnTo>
                  <a:pt x="492" y="282"/>
                </a:lnTo>
                <a:lnTo>
                  <a:pt x="456" y="276"/>
                </a:lnTo>
                <a:lnTo>
                  <a:pt x="432" y="282"/>
                </a:lnTo>
                <a:lnTo>
                  <a:pt x="396" y="288"/>
                </a:lnTo>
                <a:lnTo>
                  <a:pt x="378" y="258"/>
                </a:lnTo>
                <a:lnTo>
                  <a:pt x="354" y="252"/>
                </a:lnTo>
                <a:lnTo>
                  <a:pt x="306" y="276"/>
                </a:lnTo>
                <a:lnTo>
                  <a:pt x="282" y="246"/>
                </a:lnTo>
                <a:lnTo>
                  <a:pt x="252" y="234"/>
                </a:lnTo>
                <a:lnTo>
                  <a:pt x="156" y="276"/>
                </a:lnTo>
                <a:lnTo>
                  <a:pt x="126" y="282"/>
                </a:lnTo>
                <a:lnTo>
                  <a:pt x="78" y="306"/>
                </a:lnTo>
                <a:lnTo>
                  <a:pt x="54" y="330"/>
                </a:lnTo>
                <a:lnTo>
                  <a:pt x="36" y="306"/>
                </a:lnTo>
                <a:lnTo>
                  <a:pt x="36" y="282"/>
                </a:lnTo>
                <a:lnTo>
                  <a:pt x="24" y="258"/>
                </a:lnTo>
                <a:lnTo>
                  <a:pt x="48" y="228"/>
                </a:lnTo>
                <a:lnTo>
                  <a:pt x="60" y="204"/>
                </a:lnTo>
                <a:lnTo>
                  <a:pt x="36" y="186"/>
                </a:lnTo>
                <a:lnTo>
                  <a:pt x="30" y="162"/>
                </a:lnTo>
                <a:lnTo>
                  <a:pt x="12" y="132"/>
                </a:lnTo>
                <a:lnTo>
                  <a:pt x="0" y="132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29" name="Freeform 71" descr="Light downward diagonal"/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5335562" y="4335183"/>
            <a:ext cx="680369" cy="860037"/>
          </a:xfrm>
          <a:custGeom>
            <a:avLst/>
            <a:gdLst>
              <a:gd name="T0" fmla="*/ 2147483647 w 378"/>
              <a:gd name="T1" fmla="*/ 2147483647 h 552"/>
              <a:gd name="T2" fmla="*/ 0 w 378"/>
              <a:gd name="T3" fmla="*/ 2147483647 h 552"/>
              <a:gd name="T4" fmla="*/ 2147483647 w 378"/>
              <a:gd name="T5" fmla="*/ 2147483647 h 552"/>
              <a:gd name="T6" fmla="*/ 2147483647 w 378"/>
              <a:gd name="T7" fmla="*/ 2147483647 h 552"/>
              <a:gd name="T8" fmla="*/ 2147483647 w 378"/>
              <a:gd name="T9" fmla="*/ 2147483647 h 552"/>
              <a:gd name="T10" fmla="*/ 2147483647 w 378"/>
              <a:gd name="T11" fmla="*/ 2147483647 h 552"/>
              <a:gd name="T12" fmla="*/ 2147483647 w 378"/>
              <a:gd name="T13" fmla="*/ 2147483647 h 552"/>
              <a:gd name="T14" fmla="*/ 2147483647 w 378"/>
              <a:gd name="T15" fmla="*/ 2147483647 h 552"/>
              <a:gd name="T16" fmla="*/ 2147483647 w 378"/>
              <a:gd name="T17" fmla="*/ 2147483647 h 552"/>
              <a:gd name="T18" fmla="*/ 2147483647 w 378"/>
              <a:gd name="T19" fmla="*/ 2147483647 h 552"/>
              <a:gd name="T20" fmla="*/ 2147483647 w 378"/>
              <a:gd name="T21" fmla="*/ 2147483647 h 552"/>
              <a:gd name="T22" fmla="*/ 2147483647 w 378"/>
              <a:gd name="T23" fmla="*/ 2147483647 h 552"/>
              <a:gd name="T24" fmla="*/ 2147483647 w 378"/>
              <a:gd name="T25" fmla="*/ 2147483647 h 552"/>
              <a:gd name="T26" fmla="*/ 2147483647 w 378"/>
              <a:gd name="T27" fmla="*/ 2147483647 h 552"/>
              <a:gd name="T28" fmla="*/ 2147483647 w 378"/>
              <a:gd name="T29" fmla="*/ 2147483647 h 552"/>
              <a:gd name="T30" fmla="*/ 2147483647 w 378"/>
              <a:gd name="T31" fmla="*/ 2147483647 h 552"/>
              <a:gd name="T32" fmla="*/ 2147483647 w 378"/>
              <a:gd name="T33" fmla="*/ 0 h 552"/>
              <a:gd name="T34" fmla="*/ 2147483647 w 378"/>
              <a:gd name="T35" fmla="*/ 0 h 552"/>
              <a:gd name="T36" fmla="*/ 2147483647 w 378"/>
              <a:gd name="T37" fmla="*/ 2147483647 h 552"/>
              <a:gd name="T38" fmla="*/ 2147483647 w 378"/>
              <a:gd name="T39" fmla="*/ 2147483647 h 552"/>
              <a:gd name="T40" fmla="*/ 2147483647 w 378"/>
              <a:gd name="T41" fmla="*/ 2147483647 h 552"/>
              <a:gd name="T42" fmla="*/ 2147483647 w 378"/>
              <a:gd name="T43" fmla="*/ 2147483647 h 552"/>
              <a:gd name="T44" fmla="*/ 2147483647 w 378"/>
              <a:gd name="T45" fmla="*/ 2147483647 h 552"/>
              <a:gd name="T46" fmla="*/ 2147483647 w 378"/>
              <a:gd name="T47" fmla="*/ 2147483647 h 552"/>
              <a:gd name="T48" fmla="*/ 2147483647 w 378"/>
              <a:gd name="T49" fmla="*/ 2147483647 h 552"/>
              <a:gd name="T50" fmla="*/ 2147483647 w 378"/>
              <a:gd name="T51" fmla="*/ 2147483647 h 552"/>
              <a:gd name="T52" fmla="*/ 2147483647 w 378"/>
              <a:gd name="T53" fmla="*/ 2147483647 h 552"/>
              <a:gd name="T54" fmla="*/ 2147483647 w 378"/>
              <a:gd name="T55" fmla="*/ 2147483647 h 552"/>
              <a:gd name="T56" fmla="*/ 2147483647 w 378"/>
              <a:gd name="T57" fmla="*/ 2147483647 h 552"/>
              <a:gd name="T58" fmla="*/ 2147483647 w 378"/>
              <a:gd name="T59" fmla="*/ 2147483647 h 552"/>
              <a:gd name="T60" fmla="*/ 2147483647 w 378"/>
              <a:gd name="T61" fmla="*/ 2147483647 h 552"/>
              <a:gd name="T62" fmla="*/ 2147483647 w 378"/>
              <a:gd name="T63" fmla="*/ 2147483647 h 552"/>
              <a:gd name="T64" fmla="*/ 2147483647 w 378"/>
              <a:gd name="T65" fmla="*/ 2147483647 h 552"/>
              <a:gd name="T66" fmla="*/ 2147483647 w 378"/>
              <a:gd name="T67" fmla="*/ 2147483647 h 552"/>
              <a:gd name="T68" fmla="*/ 2147483647 w 378"/>
              <a:gd name="T69" fmla="*/ 2147483647 h 552"/>
              <a:gd name="T70" fmla="*/ 2147483647 w 378"/>
              <a:gd name="T71" fmla="*/ 2147483647 h 552"/>
              <a:gd name="T72" fmla="*/ 2147483647 w 378"/>
              <a:gd name="T73" fmla="*/ 2147483647 h 552"/>
              <a:gd name="T74" fmla="*/ 2147483647 w 378"/>
              <a:gd name="T75" fmla="*/ 2147483647 h 552"/>
              <a:gd name="T76" fmla="*/ 2147483647 w 378"/>
              <a:gd name="T77" fmla="*/ 2147483647 h 552"/>
              <a:gd name="T78" fmla="*/ 2147483647 w 378"/>
              <a:gd name="T79" fmla="*/ 2147483647 h 552"/>
              <a:gd name="T80" fmla="*/ 2147483647 w 378"/>
              <a:gd name="T81" fmla="*/ 2147483647 h 552"/>
              <a:gd name="T82" fmla="*/ 2147483647 w 378"/>
              <a:gd name="T83" fmla="*/ 2147483647 h 552"/>
              <a:gd name="T84" fmla="*/ 2147483647 w 378"/>
              <a:gd name="T85" fmla="*/ 2147483647 h 552"/>
              <a:gd name="T86" fmla="*/ 2147483647 w 378"/>
              <a:gd name="T87" fmla="*/ 2147483647 h 552"/>
              <a:gd name="T88" fmla="*/ 2147483647 w 378"/>
              <a:gd name="T89" fmla="*/ 2147483647 h 552"/>
              <a:gd name="T90" fmla="*/ 2147483647 w 378"/>
              <a:gd name="T91" fmla="*/ 2147483647 h 552"/>
              <a:gd name="T92" fmla="*/ 2147483647 w 378"/>
              <a:gd name="T93" fmla="*/ 2147483647 h 55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378" h="552">
                <a:moveTo>
                  <a:pt x="6" y="534"/>
                </a:moveTo>
                <a:lnTo>
                  <a:pt x="0" y="498"/>
                </a:lnTo>
                <a:lnTo>
                  <a:pt x="18" y="468"/>
                </a:lnTo>
                <a:lnTo>
                  <a:pt x="18" y="432"/>
                </a:lnTo>
                <a:lnTo>
                  <a:pt x="48" y="420"/>
                </a:lnTo>
                <a:lnTo>
                  <a:pt x="66" y="390"/>
                </a:lnTo>
                <a:lnTo>
                  <a:pt x="84" y="318"/>
                </a:lnTo>
                <a:lnTo>
                  <a:pt x="84" y="264"/>
                </a:lnTo>
                <a:lnTo>
                  <a:pt x="84" y="240"/>
                </a:lnTo>
                <a:lnTo>
                  <a:pt x="108" y="240"/>
                </a:lnTo>
                <a:lnTo>
                  <a:pt x="114" y="192"/>
                </a:lnTo>
                <a:lnTo>
                  <a:pt x="144" y="156"/>
                </a:lnTo>
                <a:lnTo>
                  <a:pt x="162" y="120"/>
                </a:lnTo>
                <a:lnTo>
                  <a:pt x="174" y="84"/>
                </a:lnTo>
                <a:lnTo>
                  <a:pt x="216" y="36"/>
                </a:lnTo>
                <a:lnTo>
                  <a:pt x="258" y="6"/>
                </a:lnTo>
                <a:lnTo>
                  <a:pt x="270" y="0"/>
                </a:lnTo>
                <a:lnTo>
                  <a:pt x="294" y="0"/>
                </a:lnTo>
                <a:lnTo>
                  <a:pt x="306" y="6"/>
                </a:lnTo>
                <a:lnTo>
                  <a:pt x="324" y="18"/>
                </a:lnTo>
                <a:lnTo>
                  <a:pt x="336" y="42"/>
                </a:lnTo>
                <a:lnTo>
                  <a:pt x="348" y="60"/>
                </a:lnTo>
                <a:lnTo>
                  <a:pt x="378" y="78"/>
                </a:lnTo>
                <a:lnTo>
                  <a:pt x="378" y="102"/>
                </a:lnTo>
                <a:lnTo>
                  <a:pt x="366" y="126"/>
                </a:lnTo>
                <a:lnTo>
                  <a:pt x="342" y="168"/>
                </a:lnTo>
                <a:lnTo>
                  <a:pt x="282" y="210"/>
                </a:lnTo>
                <a:lnTo>
                  <a:pt x="264" y="252"/>
                </a:lnTo>
                <a:lnTo>
                  <a:pt x="294" y="276"/>
                </a:lnTo>
                <a:lnTo>
                  <a:pt x="294" y="294"/>
                </a:lnTo>
                <a:lnTo>
                  <a:pt x="246" y="330"/>
                </a:lnTo>
                <a:lnTo>
                  <a:pt x="246" y="354"/>
                </a:lnTo>
                <a:lnTo>
                  <a:pt x="246" y="372"/>
                </a:lnTo>
                <a:lnTo>
                  <a:pt x="258" y="396"/>
                </a:lnTo>
                <a:lnTo>
                  <a:pt x="234" y="426"/>
                </a:lnTo>
                <a:lnTo>
                  <a:pt x="222" y="468"/>
                </a:lnTo>
                <a:lnTo>
                  <a:pt x="228" y="516"/>
                </a:lnTo>
                <a:lnTo>
                  <a:pt x="192" y="528"/>
                </a:lnTo>
                <a:lnTo>
                  <a:pt x="162" y="552"/>
                </a:lnTo>
                <a:lnTo>
                  <a:pt x="150" y="540"/>
                </a:lnTo>
                <a:lnTo>
                  <a:pt x="144" y="528"/>
                </a:lnTo>
                <a:lnTo>
                  <a:pt x="126" y="534"/>
                </a:lnTo>
                <a:lnTo>
                  <a:pt x="108" y="546"/>
                </a:lnTo>
                <a:lnTo>
                  <a:pt x="78" y="522"/>
                </a:lnTo>
                <a:lnTo>
                  <a:pt x="60" y="528"/>
                </a:lnTo>
                <a:lnTo>
                  <a:pt x="30" y="540"/>
                </a:lnTo>
                <a:lnTo>
                  <a:pt x="6" y="534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30" name="Freeform 72" descr="Light downward diagonal"/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5973752" y="4458045"/>
            <a:ext cx="898600" cy="559300"/>
          </a:xfrm>
          <a:custGeom>
            <a:avLst/>
            <a:gdLst>
              <a:gd name="T0" fmla="*/ 2147483647 w 498"/>
              <a:gd name="T1" fmla="*/ 2147483647 h 360"/>
              <a:gd name="T2" fmla="*/ 0 w 498"/>
              <a:gd name="T3" fmla="*/ 2147483647 h 360"/>
              <a:gd name="T4" fmla="*/ 2147483647 w 498"/>
              <a:gd name="T5" fmla="*/ 2147483647 h 360"/>
              <a:gd name="T6" fmla="*/ 2147483647 w 498"/>
              <a:gd name="T7" fmla="*/ 2147483647 h 360"/>
              <a:gd name="T8" fmla="*/ 2147483647 w 498"/>
              <a:gd name="T9" fmla="*/ 2147483647 h 360"/>
              <a:gd name="T10" fmla="*/ 2147483647 w 498"/>
              <a:gd name="T11" fmla="*/ 2147483647 h 360"/>
              <a:gd name="T12" fmla="*/ 2147483647 w 498"/>
              <a:gd name="T13" fmla="*/ 2147483647 h 360"/>
              <a:gd name="T14" fmla="*/ 2147483647 w 498"/>
              <a:gd name="T15" fmla="*/ 2147483647 h 360"/>
              <a:gd name="T16" fmla="*/ 2147483647 w 498"/>
              <a:gd name="T17" fmla="*/ 2147483647 h 360"/>
              <a:gd name="T18" fmla="*/ 2147483647 w 498"/>
              <a:gd name="T19" fmla="*/ 2147483647 h 360"/>
              <a:gd name="T20" fmla="*/ 2147483647 w 498"/>
              <a:gd name="T21" fmla="*/ 2147483647 h 360"/>
              <a:gd name="T22" fmla="*/ 2147483647 w 498"/>
              <a:gd name="T23" fmla="*/ 2147483647 h 360"/>
              <a:gd name="T24" fmla="*/ 2147483647 w 498"/>
              <a:gd name="T25" fmla="*/ 2147483647 h 360"/>
              <a:gd name="T26" fmla="*/ 2147483647 w 498"/>
              <a:gd name="T27" fmla="*/ 2147483647 h 360"/>
              <a:gd name="T28" fmla="*/ 2147483647 w 498"/>
              <a:gd name="T29" fmla="*/ 2147483647 h 360"/>
              <a:gd name="T30" fmla="*/ 2147483647 w 498"/>
              <a:gd name="T31" fmla="*/ 2147483647 h 360"/>
              <a:gd name="T32" fmla="*/ 2147483647 w 498"/>
              <a:gd name="T33" fmla="*/ 2147483647 h 360"/>
              <a:gd name="T34" fmla="*/ 2147483647 w 498"/>
              <a:gd name="T35" fmla="*/ 2147483647 h 360"/>
              <a:gd name="T36" fmla="*/ 2147483647 w 498"/>
              <a:gd name="T37" fmla="*/ 2147483647 h 360"/>
              <a:gd name="T38" fmla="*/ 2147483647 w 498"/>
              <a:gd name="T39" fmla="*/ 2147483647 h 360"/>
              <a:gd name="T40" fmla="*/ 2147483647 w 498"/>
              <a:gd name="T41" fmla="*/ 0 h 360"/>
              <a:gd name="T42" fmla="*/ 2147483647 w 498"/>
              <a:gd name="T43" fmla="*/ 2147483647 h 360"/>
              <a:gd name="T44" fmla="*/ 2147483647 w 498"/>
              <a:gd name="T45" fmla="*/ 2147483647 h 360"/>
              <a:gd name="T46" fmla="*/ 2147483647 w 498"/>
              <a:gd name="T47" fmla="*/ 2147483647 h 360"/>
              <a:gd name="T48" fmla="*/ 2147483647 w 498"/>
              <a:gd name="T49" fmla="*/ 2147483647 h 360"/>
              <a:gd name="T50" fmla="*/ 2147483647 w 498"/>
              <a:gd name="T51" fmla="*/ 2147483647 h 360"/>
              <a:gd name="T52" fmla="*/ 2147483647 w 498"/>
              <a:gd name="T53" fmla="*/ 2147483647 h 360"/>
              <a:gd name="T54" fmla="*/ 2147483647 w 498"/>
              <a:gd name="T55" fmla="*/ 2147483647 h 360"/>
              <a:gd name="T56" fmla="*/ 2147483647 w 498"/>
              <a:gd name="T57" fmla="*/ 2147483647 h 360"/>
              <a:gd name="T58" fmla="*/ 2147483647 w 498"/>
              <a:gd name="T59" fmla="*/ 2147483647 h 360"/>
              <a:gd name="T60" fmla="*/ 2147483647 w 498"/>
              <a:gd name="T61" fmla="*/ 2147483647 h 360"/>
              <a:gd name="T62" fmla="*/ 2147483647 w 498"/>
              <a:gd name="T63" fmla="*/ 2147483647 h 360"/>
              <a:gd name="T64" fmla="*/ 2147483647 w 498"/>
              <a:gd name="T65" fmla="*/ 2147483647 h 360"/>
              <a:gd name="T66" fmla="*/ 2147483647 w 498"/>
              <a:gd name="T67" fmla="*/ 2147483647 h 360"/>
              <a:gd name="T68" fmla="*/ 2147483647 w 498"/>
              <a:gd name="T69" fmla="*/ 2147483647 h 360"/>
              <a:gd name="T70" fmla="*/ 2147483647 w 498"/>
              <a:gd name="T71" fmla="*/ 2147483647 h 360"/>
              <a:gd name="T72" fmla="*/ 2147483647 w 498"/>
              <a:gd name="T73" fmla="*/ 2147483647 h 360"/>
              <a:gd name="T74" fmla="*/ 2147483647 w 498"/>
              <a:gd name="T75" fmla="*/ 2147483647 h 360"/>
              <a:gd name="T76" fmla="*/ 2147483647 w 498"/>
              <a:gd name="T77" fmla="*/ 2147483647 h 360"/>
              <a:gd name="T78" fmla="*/ 2147483647 w 498"/>
              <a:gd name="T79" fmla="*/ 2147483647 h 360"/>
              <a:gd name="T80" fmla="*/ 2147483647 w 498"/>
              <a:gd name="T81" fmla="*/ 2147483647 h 360"/>
              <a:gd name="T82" fmla="*/ 2147483647 w 498"/>
              <a:gd name="T83" fmla="*/ 2147483647 h 360"/>
              <a:gd name="T84" fmla="*/ 2147483647 w 498"/>
              <a:gd name="T85" fmla="*/ 2147483647 h 360"/>
              <a:gd name="T86" fmla="*/ 2147483647 w 498"/>
              <a:gd name="T87" fmla="*/ 2147483647 h 360"/>
              <a:gd name="T88" fmla="*/ 2147483647 w 498"/>
              <a:gd name="T89" fmla="*/ 2147483647 h 360"/>
              <a:gd name="T90" fmla="*/ 2147483647 w 498"/>
              <a:gd name="T91" fmla="*/ 2147483647 h 360"/>
              <a:gd name="T92" fmla="*/ 2147483647 w 498"/>
              <a:gd name="T93" fmla="*/ 2147483647 h 360"/>
              <a:gd name="T94" fmla="*/ 2147483647 w 498"/>
              <a:gd name="T95" fmla="*/ 2147483647 h 360"/>
              <a:gd name="T96" fmla="*/ 2147483647 w 498"/>
              <a:gd name="T97" fmla="*/ 2147483647 h 360"/>
              <a:gd name="T98" fmla="*/ 2147483647 w 498"/>
              <a:gd name="T99" fmla="*/ 2147483647 h 36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98" h="360">
                <a:moveTo>
                  <a:pt x="6" y="180"/>
                </a:moveTo>
                <a:lnTo>
                  <a:pt x="0" y="174"/>
                </a:lnTo>
                <a:lnTo>
                  <a:pt x="30" y="114"/>
                </a:lnTo>
                <a:lnTo>
                  <a:pt x="66" y="114"/>
                </a:lnTo>
                <a:lnTo>
                  <a:pt x="108" y="108"/>
                </a:lnTo>
                <a:lnTo>
                  <a:pt x="144" y="120"/>
                </a:lnTo>
                <a:lnTo>
                  <a:pt x="174" y="108"/>
                </a:lnTo>
                <a:lnTo>
                  <a:pt x="204" y="78"/>
                </a:lnTo>
                <a:lnTo>
                  <a:pt x="246" y="66"/>
                </a:lnTo>
                <a:lnTo>
                  <a:pt x="306" y="36"/>
                </a:lnTo>
                <a:lnTo>
                  <a:pt x="306" y="60"/>
                </a:lnTo>
                <a:lnTo>
                  <a:pt x="342" y="78"/>
                </a:lnTo>
                <a:lnTo>
                  <a:pt x="348" y="48"/>
                </a:lnTo>
                <a:lnTo>
                  <a:pt x="366" y="30"/>
                </a:lnTo>
                <a:lnTo>
                  <a:pt x="390" y="42"/>
                </a:lnTo>
                <a:lnTo>
                  <a:pt x="408" y="30"/>
                </a:lnTo>
                <a:lnTo>
                  <a:pt x="414" y="24"/>
                </a:lnTo>
                <a:lnTo>
                  <a:pt x="432" y="30"/>
                </a:lnTo>
                <a:lnTo>
                  <a:pt x="444" y="18"/>
                </a:lnTo>
                <a:lnTo>
                  <a:pt x="462" y="12"/>
                </a:lnTo>
                <a:lnTo>
                  <a:pt x="498" y="0"/>
                </a:lnTo>
                <a:lnTo>
                  <a:pt x="486" y="48"/>
                </a:lnTo>
                <a:lnTo>
                  <a:pt x="480" y="108"/>
                </a:lnTo>
                <a:lnTo>
                  <a:pt x="492" y="168"/>
                </a:lnTo>
                <a:lnTo>
                  <a:pt x="480" y="186"/>
                </a:lnTo>
                <a:lnTo>
                  <a:pt x="474" y="204"/>
                </a:lnTo>
                <a:lnTo>
                  <a:pt x="468" y="234"/>
                </a:lnTo>
                <a:lnTo>
                  <a:pt x="426" y="228"/>
                </a:lnTo>
                <a:lnTo>
                  <a:pt x="414" y="258"/>
                </a:lnTo>
                <a:lnTo>
                  <a:pt x="390" y="276"/>
                </a:lnTo>
                <a:lnTo>
                  <a:pt x="396" y="294"/>
                </a:lnTo>
                <a:lnTo>
                  <a:pt x="360" y="282"/>
                </a:lnTo>
                <a:lnTo>
                  <a:pt x="360" y="258"/>
                </a:lnTo>
                <a:lnTo>
                  <a:pt x="342" y="240"/>
                </a:lnTo>
                <a:lnTo>
                  <a:pt x="312" y="234"/>
                </a:lnTo>
                <a:lnTo>
                  <a:pt x="276" y="246"/>
                </a:lnTo>
                <a:lnTo>
                  <a:pt x="222" y="294"/>
                </a:lnTo>
                <a:lnTo>
                  <a:pt x="240" y="312"/>
                </a:lnTo>
                <a:lnTo>
                  <a:pt x="210" y="324"/>
                </a:lnTo>
                <a:lnTo>
                  <a:pt x="192" y="342"/>
                </a:lnTo>
                <a:lnTo>
                  <a:pt x="174" y="360"/>
                </a:lnTo>
                <a:lnTo>
                  <a:pt x="162" y="336"/>
                </a:lnTo>
                <a:lnTo>
                  <a:pt x="162" y="312"/>
                </a:lnTo>
                <a:lnTo>
                  <a:pt x="156" y="276"/>
                </a:lnTo>
                <a:lnTo>
                  <a:pt x="156" y="240"/>
                </a:lnTo>
                <a:lnTo>
                  <a:pt x="138" y="222"/>
                </a:lnTo>
                <a:lnTo>
                  <a:pt x="102" y="210"/>
                </a:lnTo>
                <a:lnTo>
                  <a:pt x="66" y="192"/>
                </a:lnTo>
                <a:lnTo>
                  <a:pt x="30" y="180"/>
                </a:lnTo>
                <a:lnTo>
                  <a:pt x="6" y="180"/>
                </a:lnTo>
                <a:close/>
              </a:path>
            </a:pathLst>
          </a:custGeom>
          <a:pattFill prst="wdUpDiag">
            <a:fgClr>
              <a:srgbClr val="FF0000"/>
            </a:fgClr>
            <a:bgClr>
              <a:srgbClr val="FF9900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31" name="Freeform 73" descr="Light downward diagonal"/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7075913" y="4269169"/>
            <a:ext cx="434628" cy="385091"/>
          </a:xfrm>
          <a:custGeom>
            <a:avLst/>
            <a:gdLst>
              <a:gd name="T0" fmla="*/ 2147483647 w 240"/>
              <a:gd name="T1" fmla="*/ 2147483647 h 246"/>
              <a:gd name="T2" fmla="*/ 2147483647 w 240"/>
              <a:gd name="T3" fmla="*/ 2147483647 h 246"/>
              <a:gd name="T4" fmla="*/ 2147483647 w 240"/>
              <a:gd name="T5" fmla="*/ 2147483647 h 246"/>
              <a:gd name="T6" fmla="*/ 2147483647 w 240"/>
              <a:gd name="T7" fmla="*/ 0 h 246"/>
              <a:gd name="T8" fmla="*/ 2147483647 w 240"/>
              <a:gd name="T9" fmla="*/ 0 h 246"/>
              <a:gd name="T10" fmla="*/ 2147483647 w 240"/>
              <a:gd name="T11" fmla="*/ 2147483647 h 246"/>
              <a:gd name="T12" fmla="*/ 2147483647 w 240"/>
              <a:gd name="T13" fmla="*/ 2147483647 h 246"/>
              <a:gd name="T14" fmla="*/ 2147483647 w 240"/>
              <a:gd name="T15" fmla="*/ 2147483647 h 246"/>
              <a:gd name="T16" fmla="*/ 2147483647 w 240"/>
              <a:gd name="T17" fmla="*/ 2147483647 h 246"/>
              <a:gd name="T18" fmla="*/ 2147483647 w 240"/>
              <a:gd name="T19" fmla="*/ 2147483647 h 246"/>
              <a:gd name="T20" fmla="*/ 2147483647 w 240"/>
              <a:gd name="T21" fmla="*/ 2147483647 h 246"/>
              <a:gd name="T22" fmla="*/ 2147483647 w 240"/>
              <a:gd name="T23" fmla="*/ 2147483647 h 246"/>
              <a:gd name="T24" fmla="*/ 2147483647 w 240"/>
              <a:gd name="T25" fmla="*/ 2147483647 h 246"/>
              <a:gd name="T26" fmla="*/ 2147483647 w 240"/>
              <a:gd name="T27" fmla="*/ 2147483647 h 246"/>
              <a:gd name="T28" fmla="*/ 2147483647 w 240"/>
              <a:gd name="T29" fmla="*/ 2147483647 h 246"/>
              <a:gd name="T30" fmla="*/ 2147483647 w 240"/>
              <a:gd name="T31" fmla="*/ 2147483647 h 246"/>
              <a:gd name="T32" fmla="*/ 2147483647 w 240"/>
              <a:gd name="T33" fmla="*/ 2147483647 h 246"/>
              <a:gd name="T34" fmla="*/ 2147483647 w 240"/>
              <a:gd name="T35" fmla="*/ 2147483647 h 246"/>
              <a:gd name="T36" fmla="*/ 2147483647 w 240"/>
              <a:gd name="T37" fmla="*/ 2147483647 h 246"/>
              <a:gd name="T38" fmla="*/ 2147483647 w 240"/>
              <a:gd name="T39" fmla="*/ 2147483647 h 246"/>
              <a:gd name="T40" fmla="*/ 2147483647 w 240"/>
              <a:gd name="T41" fmla="*/ 2147483647 h 246"/>
              <a:gd name="T42" fmla="*/ 2147483647 w 240"/>
              <a:gd name="T43" fmla="*/ 2147483647 h 246"/>
              <a:gd name="T44" fmla="*/ 2147483647 w 240"/>
              <a:gd name="T45" fmla="*/ 2147483647 h 246"/>
              <a:gd name="T46" fmla="*/ 0 w 240"/>
              <a:gd name="T47" fmla="*/ 2147483647 h 246"/>
              <a:gd name="T48" fmla="*/ 2147483647 w 240"/>
              <a:gd name="T49" fmla="*/ 2147483647 h 246"/>
              <a:gd name="T50" fmla="*/ 2147483647 w 240"/>
              <a:gd name="T51" fmla="*/ 2147483647 h 246"/>
              <a:gd name="T52" fmla="*/ 2147483647 w 240"/>
              <a:gd name="T53" fmla="*/ 2147483647 h 24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40" h="246">
                <a:moveTo>
                  <a:pt x="90" y="42"/>
                </a:moveTo>
                <a:lnTo>
                  <a:pt x="114" y="48"/>
                </a:lnTo>
                <a:lnTo>
                  <a:pt x="132" y="48"/>
                </a:lnTo>
                <a:lnTo>
                  <a:pt x="150" y="0"/>
                </a:lnTo>
                <a:lnTo>
                  <a:pt x="168" y="0"/>
                </a:lnTo>
                <a:lnTo>
                  <a:pt x="174" y="24"/>
                </a:lnTo>
                <a:lnTo>
                  <a:pt x="180" y="48"/>
                </a:lnTo>
                <a:lnTo>
                  <a:pt x="216" y="54"/>
                </a:lnTo>
                <a:lnTo>
                  <a:pt x="240" y="66"/>
                </a:lnTo>
                <a:lnTo>
                  <a:pt x="228" y="84"/>
                </a:lnTo>
                <a:lnTo>
                  <a:pt x="228" y="114"/>
                </a:lnTo>
                <a:lnTo>
                  <a:pt x="228" y="138"/>
                </a:lnTo>
                <a:lnTo>
                  <a:pt x="228" y="156"/>
                </a:lnTo>
                <a:lnTo>
                  <a:pt x="168" y="180"/>
                </a:lnTo>
                <a:lnTo>
                  <a:pt x="126" y="204"/>
                </a:lnTo>
                <a:lnTo>
                  <a:pt x="120" y="228"/>
                </a:lnTo>
                <a:lnTo>
                  <a:pt x="78" y="234"/>
                </a:lnTo>
                <a:lnTo>
                  <a:pt x="42" y="246"/>
                </a:lnTo>
                <a:lnTo>
                  <a:pt x="24" y="240"/>
                </a:lnTo>
                <a:lnTo>
                  <a:pt x="18" y="216"/>
                </a:lnTo>
                <a:lnTo>
                  <a:pt x="48" y="150"/>
                </a:lnTo>
                <a:lnTo>
                  <a:pt x="54" y="132"/>
                </a:lnTo>
                <a:lnTo>
                  <a:pt x="30" y="120"/>
                </a:lnTo>
                <a:lnTo>
                  <a:pt x="0" y="114"/>
                </a:lnTo>
                <a:lnTo>
                  <a:pt x="18" y="84"/>
                </a:lnTo>
                <a:lnTo>
                  <a:pt x="54" y="54"/>
                </a:lnTo>
                <a:lnTo>
                  <a:pt x="90" y="42"/>
                </a:lnTo>
                <a:close/>
              </a:path>
            </a:pathLst>
          </a:custGeom>
          <a:pattFill prst="wdUpDiag">
            <a:fgClr>
              <a:srgbClr val="FF0000"/>
            </a:fgClr>
            <a:bgClr>
              <a:srgbClr val="FF9900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32" name="Freeform 74" descr="Light downward diagonal"/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6470732" y="2802154"/>
            <a:ext cx="920606" cy="728006"/>
          </a:xfrm>
          <a:custGeom>
            <a:avLst/>
            <a:gdLst>
              <a:gd name="T0" fmla="*/ 0 w 510"/>
              <a:gd name="T1" fmla="*/ 2147483647 h 468"/>
              <a:gd name="T2" fmla="*/ 2147483647 w 510"/>
              <a:gd name="T3" fmla="*/ 2147483647 h 468"/>
              <a:gd name="T4" fmla="*/ 2147483647 w 510"/>
              <a:gd name="T5" fmla="*/ 2147483647 h 468"/>
              <a:gd name="T6" fmla="*/ 2147483647 w 510"/>
              <a:gd name="T7" fmla="*/ 2147483647 h 468"/>
              <a:gd name="T8" fmla="*/ 2147483647 w 510"/>
              <a:gd name="T9" fmla="*/ 2147483647 h 468"/>
              <a:gd name="T10" fmla="*/ 2147483647 w 510"/>
              <a:gd name="T11" fmla="*/ 2147483647 h 468"/>
              <a:gd name="T12" fmla="*/ 2147483647 w 510"/>
              <a:gd name="T13" fmla="*/ 2147483647 h 468"/>
              <a:gd name="T14" fmla="*/ 2147483647 w 510"/>
              <a:gd name="T15" fmla="*/ 2147483647 h 468"/>
              <a:gd name="T16" fmla="*/ 2147483647 w 510"/>
              <a:gd name="T17" fmla="*/ 2147483647 h 468"/>
              <a:gd name="T18" fmla="*/ 2147483647 w 510"/>
              <a:gd name="T19" fmla="*/ 2147483647 h 468"/>
              <a:gd name="T20" fmla="*/ 2147483647 w 510"/>
              <a:gd name="T21" fmla="*/ 2147483647 h 468"/>
              <a:gd name="T22" fmla="*/ 2147483647 w 510"/>
              <a:gd name="T23" fmla="*/ 2147483647 h 468"/>
              <a:gd name="T24" fmla="*/ 2147483647 w 510"/>
              <a:gd name="T25" fmla="*/ 0 h 468"/>
              <a:gd name="T26" fmla="*/ 2147483647 w 510"/>
              <a:gd name="T27" fmla="*/ 2147483647 h 468"/>
              <a:gd name="T28" fmla="*/ 2147483647 w 510"/>
              <a:gd name="T29" fmla="*/ 2147483647 h 468"/>
              <a:gd name="T30" fmla="*/ 2147483647 w 510"/>
              <a:gd name="T31" fmla="*/ 2147483647 h 468"/>
              <a:gd name="T32" fmla="*/ 2147483647 w 510"/>
              <a:gd name="T33" fmla="*/ 2147483647 h 468"/>
              <a:gd name="T34" fmla="*/ 2147483647 w 510"/>
              <a:gd name="T35" fmla="*/ 2147483647 h 468"/>
              <a:gd name="T36" fmla="*/ 2147483647 w 510"/>
              <a:gd name="T37" fmla="*/ 2147483647 h 468"/>
              <a:gd name="T38" fmla="*/ 2147483647 w 510"/>
              <a:gd name="T39" fmla="*/ 2147483647 h 468"/>
              <a:gd name="T40" fmla="*/ 2147483647 w 510"/>
              <a:gd name="T41" fmla="*/ 2147483647 h 468"/>
              <a:gd name="T42" fmla="*/ 2147483647 w 510"/>
              <a:gd name="T43" fmla="*/ 2147483647 h 468"/>
              <a:gd name="T44" fmla="*/ 2147483647 w 510"/>
              <a:gd name="T45" fmla="*/ 2147483647 h 468"/>
              <a:gd name="T46" fmla="*/ 2147483647 w 510"/>
              <a:gd name="T47" fmla="*/ 2147483647 h 468"/>
              <a:gd name="T48" fmla="*/ 2147483647 w 510"/>
              <a:gd name="T49" fmla="*/ 2147483647 h 468"/>
              <a:gd name="T50" fmla="*/ 2147483647 w 510"/>
              <a:gd name="T51" fmla="*/ 2147483647 h 468"/>
              <a:gd name="T52" fmla="*/ 2147483647 w 510"/>
              <a:gd name="T53" fmla="*/ 2147483647 h 468"/>
              <a:gd name="T54" fmla="*/ 2147483647 w 510"/>
              <a:gd name="T55" fmla="*/ 2147483647 h 468"/>
              <a:gd name="T56" fmla="*/ 2147483647 w 510"/>
              <a:gd name="T57" fmla="*/ 2147483647 h 468"/>
              <a:gd name="T58" fmla="*/ 2147483647 w 510"/>
              <a:gd name="T59" fmla="*/ 2147483647 h 468"/>
              <a:gd name="T60" fmla="*/ 2147483647 w 510"/>
              <a:gd name="T61" fmla="*/ 2147483647 h 468"/>
              <a:gd name="T62" fmla="*/ 2147483647 w 510"/>
              <a:gd name="T63" fmla="*/ 2147483647 h 468"/>
              <a:gd name="T64" fmla="*/ 2147483647 w 510"/>
              <a:gd name="T65" fmla="*/ 2147483647 h 468"/>
              <a:gd name="T66" fmla="*/ 2147483647 w 510"/>
              <a:gd name="T67" fmla="*/ 2147483647 h 468"/>
              <a:gd name="T68" fmla="*/ 2147483647 w 510"/>
              <a:gd name="T69" fmla="*/ 2147483647 h 468"/>
              <a:gd name="T70" fmla="*/ 2147483647 w 510"/>
              <a:gd name="T71" fmla="*/ 2147483647 h 468"/>
              <a:gd name="T72" fmla="*/ 2147483647 w 510"/>
              <a:gd name="T73" fmla="*/ 2147483647 h 468"/>
              <a:gd name="T74" fmla="*/ 2147483647 w 510"/>
              <a:gd name="T75" fmla="*/ 2147483647 h 468"/>
              <a:gd name="T76" fmla="*/ 2147483647 w 510"/>
              <a:gd name="T77" fmla="*/ 2147483647 h 468"/>
              <a:gd name="T78" fmla="*/ 2147483647 w 510"/>
              <a:gd name="T79" fmla="*/ 2147483647 h 468"/>
              <a:gd name="T80" fmla="*/ 2147483647 w 510"/>
              <a:gd name="T81" fmla="*/ 2147483647 h 468"/>
              <a:gd name="T82" fmla="*/ 2147483647 w 510"/>
              <a:gd name="T83" fmla="*/ 2147483647 h 468"/>
              <a:gd name="T84" fmla="*/ 2147483647 w 510"/>
              <a:gd name="T85" fmla="*/ 2147483647 h 468"/>
              <a:gd name="T86" fmla="*/ 0 w 510"/>
              <a:gd name="T87" fmla="*/ 2147483647 h 4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10" h="468">
                <a:moveTo>
                  <a:pt x="0" y="384"/>
                </a:moveTo>
                <a:lnTo>
                  <a:pt x="24" y="348"/>
                </a:lnTo>
                <a:lnTo>
                  <a:pt x="42" y="294"/>
                </a:lnTo>
                <a:lnTo>
                  <a:pt x="48" y="252"/>
                </a:lnTo>
                <a:lnTo>
                  <a:pt x="108" y="138"/>
                </a:lnTo>
                <a:lnTo>
                  <a:pt x="138" y="114"/>
                </a:lnTo>
                <a:lnTo>
                  <a:pt x="180" y="102"/>
                </a:lnTo>
                <a:lnTo>
                  <a:pt x="228" y="96"/>
                </a:lnTo>
                <a:lnTo>
                  <a:pt x="240" y="90"/>
                </a:lnTo>
                <a:lnTo>
                  <a:pt x="300" y="66"/>
                </a:lnTo>
                <a:lnTo>
                  <a:pt x="348" y="30"/>
                </a:lnTo>
                <a:lnTo>
                  <a:pt x="432" y="6"/>
                </a:lnTo>
                <a:lnTo>
                  <a:pt x="468" y="0"/>
                </a:lnTo>
                <a:lnTo>
                  <a:pt x="486" y="12"/>
                </a:lnTo>
                <a:lnTo>
                  <a:pt x="456" y="48"/>
                </a:lnTo>
                <a:lnTo>
                  <a:pt x="414" y="72"/>
                </a:lnTo>
                <a:lnTo>
                  <a:pt x="426" y="138"/>
                </a:lnTo>
                <a:lnTo>
                  <a:pt x="444" y="150"/>
                </a:lnTo>
                <a:lnTo>
                  <a:pt x="462" y="138"/>
                </a:lnTo>
                <a:lnTo>
                  <a:pt x="474" y="156"/>
                </a:lnTo>
                <a:lnTo>
                  <a:pt x="498" y="204"/>
                </a:lnTo>
                <a:lnTo>
                  <a:pt x="510" y="216"/>
                </a:lnTo>
                <a:lnTo>
                  <a:pt x="480" y="246"/>
                </a:lnTo>
                <a:lnTo>
                  <a:pt x="450" y="282"/>
                </a:lnTo>
                <a:lnTo>
                  <a:pt x="450" y="306"/>
                </a:lnTo>
                <a:lnTo>
                  <a:pt x="438" y="330"/>
                </a:lnTo>
                <a:lnTo>
                  <a:pt x="426" y="330"/>
                </a:lnTo>
                <a:lnTo>
                  <a:pt x="354" y="294"/>
                </a:lnTo>
                <a:lnTo>
                  <a:pt x="324" y="300"/>
                </a:lnTo>
                <a:lnTo>
                  <a:pt x="312" y="312"/>
                </a:lnTo>
                <a:lnTo>
                  <a:pt x="348" y="336"/>
                </a:lnTo>
                <a:lnTo>
                  <a:pt x="336" y="348"/>
                </a:lnTo>
                <a:lnTo>
                  <a:pt x="252" y="354"/>
                </a:lnTo>
                <a:lnTo>
                  <a:pt x="216" y="372"/>
                </a:lnTo>
                <a:lnTo>
                  <a:pt x="168" y="378"/>
                </a:lnTo>
                <a:lnTo>
                  <a:pt x="144" y="396"/>
                </a:lnTo>
                <a:lnTo>
                  <a:pt x="126" y="414"/>
                </a:lnTo>
                <a:lnTo>
                  <a:pt x="78" y="438"/>
                </a:lnTo>
                <a:lnTo>
                  <a:pt x="36" y="456"/>
                </a:lnTo>
                <a:lnTo>
                  <a:pt x="12" y="468"/>
                </a:lnTo>
                <a:lnTo>
                  <a:pt x="24" y="432"/>
                </a:lnTo>
                <a:lnTo>
                  <a:pt x="54" y="402"/>
                </a:lnTo>
                <a:lnTo>
                  <a:pt x="24" y="372"/>
                </a:lnTo>
                <a:lnTo>
                  <a:pt x="0" y="384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33" name="Freeform 75"/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7908492" y="3299104"/>
            <a:ext cx="596009" cy="550131"/>
          </a:xfrm>
          <a:custGeom>
            <a:avLst/>
            <a:gdLst>
              <a:gd name="T0" fmla="*/ 2147483647 w 330"/>
              <a:gd name="T1" fmla="*/ 2147483647 h 354"/>
              <a:gd name="T2" fmla="*/ 2147483647 w 330"/>
              <a:gd name="T3" fmla="*/ 2147483647 h 354"/>
              <a:gd name="T4" fmla="*/ 2147483647 w 330"/>
              <a:gd name="T5" fmla="*/ 2147483647 h 354"/>
              <a:gd name="T6" fmla="*/ 0 w 330"/>
              <a:gd name="T7" fmla="*/ 2147483647 h 354"/>
              <a:gd name="T8" fmla="*/ 2147483647 w 330"/>
              <a:gd name="T9" fmla="*/ 2147483647 h 354"/>
              <a:gd name="T10" fmla="*/ 2147483647 w 330"/>
              <a:gd name="T11" fmla="*/ 2147483647 h 354"/>
              <a:gd name="T12" fmla="*/ 2147483647 w 330"/>
              <a:gd name="T13" fmla="*/ 2147483647 h 354"/>
              <a:gd name="T14" fmla="*/ 2147483647 w 330"/>
              <a:gd name="T15" fmla="*/ 2147483647 h 354"/>
              <a:gd name="T16" fmla="*/ 2147483647 w 330"/>
              <a:gd name="T17" fmla="*/ 2147483647 h 354"/>
              <a:gd name="T18" fmla="*/ 2147483647 w 330"/>
              <a:gd name="T19" fmla="*/ 2147483647 h 354"/>
              <a:gd name="T20" fmla="*/ 2147483647 w 330"/>
              <a:gd name="T21" fmla="*/ 2147483647 h 354"/>
              <a:gd name="T22" fmla="*/ 2147483647 w 330"/>
              <a:gd name="T23" fmla="*/ 2147483647 h 354"/>
              <a:gd name="T24" fmla="*/ 2147483647 w 330"/>
              <a:gd name="T25" fmla="*/ 2147483647 h 354"/>
              <a:gd name="T26" fmla="*/ 2147483647 w 330"/>
              <a:gd name="T27" fmla="*/ 2147483647 h 354"/>
              <a:gd name="T28" fmla="*/ 2147483647 w 330"/>
              <a:gd name="T29" fmla="*/ 2147483647 h 354"/>
              <a:gd name="T30" fmla="*/ 2147483647 w 330"/>
              <a:gd name="T31" fmla="*/ 2147483647 h 354"/>
              <a:gd name="T32" fmla="*/ 2147483647 w 330"/>
              <a:gd name="T33" fmla="*/ 2147483647 h 354"/>
              <a:gd name="T34" fmla="*/ 2147483647 w 330"/>
              <a:gd name="T35" fmla="*/ 2147483647 h 354"/>
              <a:gd name="T36" fmla="*/ 2147483647 w 330"/>
              <a:gd name="T37" fmla="*/ 2147483647 h 354"/>
              <a:gd name="T38" fmla="*/ 2147483647 w 330"/>
              <a:gd name="T39" fmla="*/ 2147483647 h 354"/>
              <a:gd name="T40" fmla="*/ 2147483647 w 330"/>
              <a:gd name="T41" fmla="*/ 2147483647 h 354"/>
              <a:gd name="T42" fmla="*/ 2147483647 w 330"/>
              <a:gd name="T43" fmla="*/ 2147483647 h 354"/>
              <a:gd name="T44" fmla="*/ 2147483647 w 330"/>
              <a:gd name="T45" fmla="*/ 2147483647 h 354"/>
              <a:gd name="T46" fmla="*/ 2147483647 w 330"/>
              <a:gd name="T47" fmla="*/ 2147483647 h 354"/>
              <a:gd name="T48" fmla="*/ 2147483647 w 330"/>
              <a:gd name="T49" fmla="*/ 2147483647 h 354"/>
              <a:gd name="T50" fmla="*/ 2147483647 w 330"/>
              <a:gd name="T51" fmla="*/ 2147483647 h 354"/>
              <a:gd name="T52" fmla="*/ 2147483647 w 330"/>
              <a:gd name="T53" fmla="*/ 2147483647 h 354"/>
              <a:gd name="T54" fmla="*/ 2147483647 w 330"/>
              <a:gd name="T55" fmla="*/ 2147483647 h 354"/>
              <a:gd name="T56" fmla="*/ 2147483647 w 330"/>
              <a:gd name="T57" fmla="*/ 2147483647 h 354"/>
              <a:gd name="T58" fmla="*/ 2147483647 w 330"/>
              <a:gd name="T59" fmla="*/ 2147483647 h 354"/>
              <a:gd name="T60" fmla="*/ 2147483647 w 330"/>
              <a:gd name="T61" fmla="*/ 2147483647 h 354"/>
              <a:gd name="T62" fmla="*/ 2147483647 w 330"/>
              <a:gd name="T63" fmla="*/ 2147483647 h 354"/>
              <a:gd name="T64" fmla="*/ 2147483647 w 330"/>
              <a:gd name="T65" fmla="*/ 2147483647 h 354"/>
              <a:gd name="T66" fmla="*/ 2147483647 w 330"/>
              <a:gd name="T67" fmla="*/ 2147483647 h 354"/>
              <a:gd name="T68" fmla="*/ 2147483647 w 330"/>
              <a:gd name="T69" fmla="*/ 2147483647 h 354"/>
              <a:gd name="T70" fmla="*/ 2147483647 w 330"/>
              <a:gd name="T71" fmla="*/ 2147483647 h 354"/>
              <a:gd name="T72" fmla="*/ 2147483647 w 330"/>
              <a:gd name="T73" fmla="*/ 2147483647 h 354"/>
              <a:gd name="T74" fmla="*/ 2147483647 w 330"/>
              <a:gd name="T75" fmla="*/ 2147483647 h 354"/>
              <a:gd name="T76" fmla="*/ 2147483647 w 330"/>
              <a:gd name="T77" fmla="*/ 2147483647 h 354"/>
              <a:gd name="T78" fmla="*/ 2147483647 w 330"/>
              <a:gd name="T79" fmla="*/ 2147483647 h 354"/>
              <a:gd name="T80" fmla="*/ 2147483647 w 330"/>
              <a:gd name="T81" fmla="*/ 2147483647 h 354"/>
              <a:gd name="T82" fmla="*/ 2147483647 w 330"/>
              <a:gd name="T83" fmla="*/ 2147483647 h 354"/>
              <a:gd name="T84" fmla="*/ 2147483647 w 330"/>
              <a:gd name="T85" fmla="*/ 2147483647 h 354"/>
              <a:gd name="T86" fmla="*/ 2147483647 w 330"/>
              <a:gd name="T87" fmla="*/ 2147483647 h 354"/>
              <a:gd name="T88" fmla="*/ 2147483647 w 330"/>
              <a:gd name="T89" fmla="*/ 2147483647 h 354"/>
              <a:gd name="T90" fmla="*/ 2147483647 w 330"/>
              <a:gd name="T91" fmla="*/ 2147483647 h 354"/>
              <a:gd name="T92" fmla="*/ 2147483647 w 330"/>
              <a:gd name="T93" fmla="*/ 2147483647 h 354"/>
              <a:gd name="T94" fmla="*/ 2147483647 w 330"/>
              <a:gd name="T95" fmla="*/ 2147483647 h 35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0" h="354">
                <a:moveTo>
                  <a:pt x="222" y="306"/>
                </a:moveTo>
                <a:lnTo>
                  <a:pt x="216" y="312"/>
                </a:lnTo>
                <a:lnTo>
                  <a:pt x="192" y="330"/>
                </a:lnTo>
                <a:lnTo>
                  <a:pt x="174" y="330"/>
                </a:lnTo>
                <a:lnTo>
                  <a:pt x="156" y="336"/>
                </a:lnTo>
                <a:lnTo>
                  <a:pt x="132" y="336"/>
                </a:lnTo>
                <a:lnTo>
                  <a:pt x="102" y="354"/>
                </a:lnTo>
                <a:lnTo>
                  <a:pt x="84" y="348"/>
                </a:lnTo>
                <a:lnTo>
                  <a:pt x="78" y="330"/>
                </a:lnTo>
                <a:lnTo>
                  <a:pt x="54" y="330"/>
                </a:lnTo>
                <a:lnTo>
                  <a:pt x="24" y="324"/>
                </a:lnTo>
                <a:lnTo>
                  <a:pt x="0" y="300"/>
                </a:lnTo>
                <a:lnTo>
                  <a:pt x="18" y="270"/>
                </a:lnTo>
                <a:lnTo>
                  <a:pt x="42" y="276"/>
                </a:lnTo>
                <a:lnTo>
                  <a:pt x="66" y="258"/>
                </a:lnTo>
                <a:lnTo>
                  <a:pt x="90" y="210"/>
                </a:lnTo>
                <a:lnTo>
                  <a:pt x="114" y="186"/>
                </a:lnTo>
                <a:lnTo>
                  <a:pt x="138" y="162"/>
                </a:lnTo>
                <a:lnTo>
                  <a:pt x="180" y="114"/>
                </a:lnTo>
                <a:lnTo>
                  <a:pt x="222" y="66"/>
                </a:lnTo>
                <a:lnTo>
                  <a:pt x="258" y="30"/>
                </a:lnTo>
                <a:lnTo>
                  <a:pt x="306" y="6"/>
                </a:lnTo>
                <a:lnTo>
                  <a:pt x="324" y="0"/>
                </a:lnTo>
                <a:lnTo>
                  <a:pt x="330" y="12"/>
                </a:lnTo>
                <a:lnTo>
                  <a:pt x="324" y="12"/>
                </a:lnTo>
                <a:lnTo>
                  <a:pt x="324" y="18"/>
                </a:lnTo>
                <a:lnTo>
                  <a:pt x="318" y="18"/>
                </a:lnTo>
                <a:lnTo>
                  <a:pt x="312" y="18"/>
                </a:lnTo>
                <a:lnTo>
                  <a:pt x="306" y="18"/>
                </a:lnTo>
                <a:lnTo>
                  <a:pt x="306" y="24"/>
                </a:lnTo>
                <a:lnTo>
                  <a:pt x="306" y="18"/>
                </a:lnTo>
                <a:lnTo>
                  <a:pt x="300" y="18"/>
                </a:lnTo>
                <a:lnTo>
                  <a:pt x="300" y="24"/>
                </a:lnTo>
                <a:lnTo>
                  <a:pt x="294" y="24"/>
                </a:lnTo>
                <a:lnTo>
                  <a:pt x="294" y="30"/>
                </a:lnTo>
                <a:lnTo>
                  <a:pt x="288" y="30"/>
                </a:lnTo>
                <a:lnTo>
                  <a:pt x="288" y="36"/>
                </a:lnTo>
                <a:lnTo>
                  <a:pt x="282" y="36"/>
                </a:lnTo>
                <a:lnTo>
                  <a:pt x="282" y="42"/>
                </a:lnTo>
                <a:lnTo>
                  <a:pt x="282" y="36"/>
                </a:lnTo>
                <a:lnTo>
                  <a:pt x="276" y="36"/>
                </a:lnTo>
                <a:lnTo>
                  <a:pt x="270" y="36"/>
                </a:lnTo>
                <a:lnTo>
                  <a:pt x="270" y="42"/>
                </a:lnTo>
                <a:lnTo>
                  <a:pt x="276" y="42"/>
                </a:lnTo>
                <a:lnTo>
                  <a:pt x="270" y="42"/>
                </a:lnTo>
                <a:lnTo>
                  <a:pt x="270" y="48"/>
                </a:lnTo>
                <a:lnTo>
                  <a:pt x="264" y="48"/>
                </a:lnTo>
                <a:lnTo>
                  <a:pt x="264" y="54"/>
                </a:lnTo>
                <a:lnTo>
                  <a:pt x="258" y="54"/>
                </a:lnTo>
                <a:lnTo>
                  <a:pt x="258" y="60"/>
                </a:lnTo>
                <a:lnTo>
                  <a:pt x="252" y="60"/>
                </a:lnTo>
                <a:lnTo>
                  <a:pt x="252" y="66"/>
                </a:lnTo>
                <a:lnTo>
                  <a:pt x="252" y="72"/>
                </a:lnTo>
                <a:lnTo>
                  <a:pt x="246" y="72"/>
                </a:lnTo>
                <a:lnTo>
                  <a:pt x="246" y="78"/>
                </a:lnTo>
                <a:lnTo>
                  <a:pt x="252" y="78"/>
                </a:lnTo>
                <a:lnTo>
                  <a:pt x="246" y="78"/>
                </a:lnTo>
                <a:lnTo>
                  <a:pt x="246" y="84"/>
                </a:lnTo>
                <a:lnTo>
                  <a:pt x="246" y="90"/>
                </a:lnTo>
                <a:lnTo>
                  <a:pt x="246" y="96"/>
                </a:lnTo>
                <a:lnTo>
                  <a:pt x="246" y="102"/>
                </a:lnTo>
                <a:lnTo>
                  <a:pt x="240" y="102"/>
                </a:lnTo>
                <a:lnTo>
                  <a:pt x="234" y="102"/>
                </a:lnTo>
                <a:lnTo>
                  <a:pt x="228" y="102"/>
                </a:lnTo>
                <a:lnTo>
                  <a:pt x="228" y="108"/>
                </a:lnTo>
                <a:lnTo>
                  <a:pt x="222" y="108"/>
                </a:lnTo>
                <a:lnTo>
                  <a:pt x="222" y="102"/>
                </a:lnTo>
                <a:lnTo>
                  <a:pt x="222" y="108"/>
                </a:lnTo>
                <a:lnTo>
                  <a:pt x="210" y="114"/>
                </a:lnTo>
                <a:lnTo>
                  <a:pt x="210" y="120"/>
                </a:lnTo>
                <a:lnTo>
                  <a:pt x="216" y="120"/>
                </a:lnTo>
                <a:lnTo>
                  <a:pt x="216" y="126"/>
                </a:lnTo>
                <a:lnTo>
                  <a:pt x="222" y="126"/>
                </a:lnTo>
                <a:lnTo>
                  <a:pt x="222" y="132"/>
                </a:lnTo>
                <a:lnTo>
                  <a:pt x="228" y="132"/>
                </a:lnTo>
                <a:lnTo>
                  <a:pt x="234" y="132"/>
                </a:lnTo>
                <a:lnTo>
                  <a:pt x="234" y="138"/>
                </a:lnTo>
                <a:lnTo>
                  <a:pt x="228" y="138"/>
                </a:lnTo>
                <a:lnTo>
                  <a:pt x="228" y="144"/>
                </a:lnTo>
                <a:lnTo>
                  <a:pt x="234" y="144"/>
                </a:lnTo>
                <a:lnTo>
                  <a:pt x="234" y="150"/>
                </a:lnTo>
                <a:lnTo>
                  <a:pt x="240" y="150"/>
                </a:lnTo>
                <a:lnTo>
                  <a:pt x="240" y="156"/>
                </a:lnTo>
                <a:lnTo>
                  <a:pt x="240" y="162"/>
                </a:lnTo>
                <a:lnTo>
                  <a:pt x="240" y="168"/>
                </a:lnTo>
                <a:lnTo>
                  <a:pt x="246" y="168"/>
                </a:lnTo>
                <a:lnTo>
                  <a:pt x="252" y="174"/>
                </a:lnTo>
                <a:lnTo>
                  <a:pt x="252" y="180"/>
                </a:lnTo>
                <a:lnTo>
                  <a:pt x="258" y="180"/>
                </a:lnTo>
                <a:lnTo>
                  <a:pt x="252" y="180"/>
                </a:lnTo>
                <a:lnTo>
                  <a:pt x="258" y="180"/>
                </a:lnTo>
                <a:lnTo>
                  <a:pt x="258" y="186"/>
                </a:lnTo>
                <a:lnTo>
                  <a:pt x="264" y="186"/>
                </a:lnTo>
                <a:lnTo>
                  <a:pt x="270" y="186"/>
                </a:lnTo>
                <a:lnTo>
                  <a:pt x="264" y="186"/>
                </a:lnTo>
                <a:lnTo>
                  <a:pt x="264" y="192"/>
                </a:lnTo>
                <a:lnTo>
                  <a:pt x="270" y="192"/>
                </a:lnTo>
                <a:lnTo>
                  <a:pt x="270" y="198"/>
                </a:lnTo>
                <a:lnTo>
                  <a:pt x="264" y="198"/>
                </a:lnTo>
                <a:lnTo>
                  <a:pt x="270" y="198"/>
                </a:lnTo>
                <a:lnTo>
                  <a:pt x="264" y="198"/>
                </a:lnTo>
                <a:lnTo>
                  <a:pt x="270" y="204"/>
                </a:lnTo>
                <a:lnTo>
                  <a:pt x="264" y="204"/>
                </a:lnTo>
                <a:lnTo>
                  <a:pt x="264" y="210"/>
                </a:lnTo>
                <a:lnTo>
                  <a:pt x="258" y="210"/>
                </a:lnTo>
                <a:lnTo>
                  <a:pt x="252" y="210"/>
                </a:lnTo>
                <a:lnTo>
                  <a:pt x="252" y="216"/>
                </a:lnTo>
                <a:lnTo>
                  <a:pt x="252" y="222"/>
                </a:lnTo>
                <a:lnTo>
                  <a:pt x="258" y="222"/>
                </a:lnTo>
                <a:lnTo>
                  <a:pt x="264" y="222"/>
                </a:lnTo>
                <a:lnTo>
                  <a:pt x="264" y="228"/>
                </a:lnTo>
                <a:lnTo>
                  <a:pt x="270" y="228"/>
                </a:lnTo>
                <a:lnTo>
                  <a:pt x="276" y="228"/>
                </a:lnTo>
                <a:lnTo>
                  <a:pt x="270" y="228"/>
                </a:lnTo>
                <a:lnTo>
                  <a:pt x="270" y="234"/>
                </a:lnTo>
                <a:lnTo>
                  <a:pt x="276" y="234"/>
                </a:lnTo>
                <a:lnTo>
                  <a:pt x="282" y="234"/>
                </a:lnTo>
                <a:lnTo>
                  <a:pt x="282" y="240"/>
                </a:lnTo>
                <a:lnTo>
                  <a:pt x="282" y="246"/>
                </a:lnTo>
                <a:lnTo>
                  <a:pt x="276" y="246"/>
                </a:lnTo>
                <a:lnTo>
                  <a:pt x="276" y="252"/>
                </a:lnTo>
                <a:lnTo>
                  <a:pt x="282" y="252"/>
                </a:lnTo>
                <a:lnTo>
                  <a:pt x="282" y="258"/>
                </a:lnTo>
                <a:lnTo>
                  <a:pt x="276" y="258"/>
                </a:lnTo>
                <a:lnTo>
                  <a:pt x="270" y="258"/>
                </a:lnTo>
                <a:lnTo>
                  <a:pt x="270" y="252"/>
                </a:lnTo>
                <a:lnTo>
                  <a:pt x="270" y="258"/>
                </a:lnTo>
                <a:lnTo>
                  <a:pt x="264" y="258"/>
                </a:lnTo>
                <a:lnTo>
                  <a:pt x="258" y="258"/>
                </a:lnTo>
                <a:lnTo>
                  <a:pt x="258" y="264"/>
                </a:lnTo>
                <a:lnTo>
                  <a:pt x="252" y="264"/>
                </a:lnTo>
                <a:lnTo>
                  <a:pt x="252" y="270"/>
                </a:lnTo>
                <a:lnTo>
                  <a:pt x="252" y="276"/>
                </a:lnTo>
                <a:lnTo>
                  <a:pt x="246" y="282"/>
                </a:lnTo>
                <a:lnTo>
                  <a:pt x="240" y="282"/>
                </a:lnTo>
                <a:lnTo>
                  <a:pt x="234" y="282"/>
                </a:lnTo>
                <a:lnTo>
                  <a:pt x="234" y="288"/>
                </a:lnTo>
                <a:lnTo>
                  <a:pt x="234" y="294"/>
                </a:lnTo>
                <a:lnTo>
                  <a:pt x="228" y="294"/>
                </a:lnTo>
                <a:lnTo>
                  <a:pt x="228" y="300"/>
                </a:lnTo>
                <a:lnTo>
                  <a:pt x="234" y="300"/>
                </a:lnTo>
                <a:lnTo>
                  <a:pt x="228" y="300"/>
                </a:lnTo>
                <a:lnTo>
                  <a:pt x="228" y="306"/>
                </a:lnTo>
                <a:lnTo>
                  <a:pt x="222" y="306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34" name="Freeform 76"/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7596734" y="2530755"/>
            <a:ext cx="779398" cy="412598"/>
          </a:xfrm>
          <a:custGeom>
            <a:avLst/>
            <a:gdLst>
              <a:gd name="T0" fmla="*/ 2147483647 w 432"/>
              <a:gd name="T1" fmla="*/ 2147483647 h 264"/>
              <a:gd name="T2" fmla="*/ 2147483647 w 432"/>
              <a:gd name="T3" fmla="*/ 2147483647 h 264"/>
              <a:gd name="T4" fmla="*/ 2147483647 w 432"/>
              <a:gd name="T5" fmla="*/ 2147483647 h 264"/>
              <a:gd name="T6" fmla="*/ 2147483647 w 432"/>
              <a:gd name="T7" fmla="*/ 2147483647 h 264"/>
              <a:gd name="T8" fmla="*/ 2147483647 w 432"/>
              <a:gd name="T9" fmla="*/ 2147483647 h 264"/>
              <a:gd name="T10" fmla="*/ 2147483647 w 432"/>
              <a:gd name="T11" fmla="*/ 2147483647 h 264"/>
              <a:gd name="T12" fmla="*/ 2147483647 w 432"/>
              <a:gd name="T13" fmla="*/ 2147483647 h 264"/>
              <a:gd name="T14" fmla="*/ 2147483647 w 432"/>
              <a:gd name="T15" fmla="*/ 2147483647 h 264"/>
              <a:gd name="T16" fmla="*/ 2147483647 w 432"/>
              <a:gd name="T17" fmla="*/ 2147483647 h 264"/>
              <a:gd name="T18" fmla="*/ 2147483647 w 432"/>
              <a:gd name="T19" fmla="*/ 2147483647 h 264"/>
              <a:gd name="T20" fmla="*/ 2147483647 w 432"/>
              <a:gd name="T21" fmla="*/ 2147483647 h 264"/>
              <a:gd name="T22" fmla="*/ 2147483647 w 432"/>
              <a:gd name="T23" fmla="*/ 2147483647 h 264"/>
              <a:gd name="T24" fmla="*/ 2147483647 w 432"/>
              <a:gd name="T25" fmla="*/ 2147483647 h 264"/>
              <a:gd name="T26" fmla="*/ 2147483647 w 432"/>
              <a:gd name="T27" fmla="*/ 2147483647 h 264"/>
              <a:gd name="T28" fmla="*/ 0 w 432"/>
              <a:gd name="T29" fmla="*/ 2147483647 h 264"/>
              <a:gd name="T30" fmla="*/ 2147483647 w 432"/>
              <a:gd name="T31" fmla="*/ 2147483647 h 264"/>
              <a:gd name="T32" fmla="*/ 2147483647 w 432"/>
              <a:gd name="T33" fmla="*/ 2147483647 h 264"/>
              <a:gd name="T34" fmla="*/ 2147483647 w 432"/>
              <a:gd name="T35" fmla="*/ 2147483647 h 264"/>
              <a:gd name="T36" fmla="*/ 2147483647 w 432"/>
              <a:gd name="T37" fmla="*/ 0 h 264"/>
              <a:gd name="T38" fmla="*/ 2147483647 w 432"/>
              <a:gd name="T39" fmla="*/ 2147483647 h 264"/>
              <a:gd name="T40" fmla="*/ 2147483647 w 432"/>
              <a:gd name="T41" fmla="*/ 2147483647 h 264"/>
              <a:gd name="T42" fmla="*/ 2147483647 w 432"/>
              <a:gd name="T43" fmla="*/ 2147483647 h 264"/>
              <a:gd name="T44" fmla="*/ 2147483647 w 432"/>
              <a:gd name="T45" fmla="*/ 2147483647 h 264"/>
              <a:gd name="T46" fmla="*/ 2147483647 w 432"/>
              <a:gd name="T47" fmla="*/ 2147483647 h 264"/>
              <a:gd name="T48" fmla="*/ 2147483647 w 432"/>
              <a:gd name="T49" fmla="*/ 2147483647 h 264"/>
              <a:gd name="T50" fmla="*/ 2147483647 w 432"/>
              <a:gd name="T51" fmla="*/ 2147483647 h 264"/>
              <a:gd name="T52" fmla="*/ 2147483647 w 432"/>
              <a:gd name="T53" fmla="*/ 2147483647 h 264"/>
              <a:gd name="T54" fmla="*/ 2147483647 w 432"/>
              <a:gd name="T55" fmla="*/ 2147483647 h 264"/>
              <a:gd name="T56" fmla="*/ 2147483647 w 432"/>
              <a:gd name="T57" fmla="*/ 2147483647 h 264"/>
              <a:gd name="T58" fmla="*/ 2147483647 w 432"/>
              <a:gd name="T59" fmla="*/ 2147483647 h 264"/>
              <a:gd name="T60" fmla="*/ 2147483647 w 432"/>
              <a:gd name="T61" fmla="*/ 2147483647 h 264"/>
              <a:gd name="T62" fmla="*/ 2147483647 w 432"/>
              <a:gd name="T63" fmla="*/ 2147483647 h 264"/>
              <a:gd name="T64" fmla="*/ 2147483647 w 432"/>
              <a:gd name="T65" fmla="*/ 2147483647 h 264"/>
              <a:gd name="T66" fmla="*/ 2147483647 w 432"/>
              <a:gd name="T67" fmla="*/ 2147483647 h 264"/>
              <a:gd name="T68" fmla="*/ 2147483647 w 432"/>
              <a:gd name="T69" fmla="*/ 2147483647 h 264"/>
              <a:gd name="T70" fmla="*/ 2147483647 w 432"/>
              <a:gd name="T71" fmla="*/ 2147483647 h 264"/>
              <a:gd name="T72" fmla="*/ 2147483647 w 432"/>
              <a:gd name="T73" fmla="*/ 2147483647 h 264"/>
              <a:gd name="T74" fmla="*/ 2147483647 w 432"/>
              <a:gd name="T75" fmla="*/ 2147483647 h 264"/>
              <a:gd name="T76" fmla="*/ 2147483647 w 432"/>
              <a:gd name="T77" fmla="*/ 2147483647 h 264"/>
              <a:gd name="T78" fmla="*/ 2147483647 w 432"/>
              <a:gd name="T79" fmla="*/ 2147483647 h 264"/>
              <a:gd name="T80" fmla="*/ 2147483647 w 432"/>
              <a:gd name="T81" fmla="*/ 2147483647 h 264"/>
              <a:gd name="T82" fmla="*/ 2147483647 w 432"/>
              <a:gd name="T83" fmla="*/ 2147483647 h 264"/>
              <a:gd name="T84" fmla="*/ 2147483647 w 432"/>
              <a:gd name="T85" fmla="*/ 2147483647 h 264"/>
              <a:gd name="T86" fmla="*/ 2147483647 w 432"/>
              <a:gd name="T87" fmla="*/ 2147483647 h 264"/>
              <a:gd name="T88" fmla="*/ 2147483647 w 432"/>
              <a:gd name="T89" fmla="*/ 2147483647 h 264"/>
              <a:gd name="T90" fmla="*/ 2147483647 w 432"/>
              <a:gd name="T91" fmla="*/ 2147483647 h 26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32" h="264">
                <a:moveTo>
                  <a:pt x="432" y="114"/>
                </a:moveTo>
                <a:lnTo>
                  <a:pt x="432" y="126"/>
                </a:lnTo>
                <a:lnTo>
                  <a:pt x="426" y="162"/>
                </a:lnTo>
                <a:lnTo>
                  <a:pt x="390" y="180"/>
                </a:lnTo>
                <a:lnTo>
                  <a:pt x="354" y="198"/>
                </a:lnTo>
                <a:lnTo>
                  <a:pt x="312" y="210"/>
                </a:lnTo>
                <a:lnTo>
                  <a:pt x="264" y="240"/>
                </a:lnTo>
                <a:lnTo>
                  <a:pt x="192" y="258"/>
                </a:lnTo>
                <a:lnTo>
                  <a:pt x="126" y="264"/>
                </a:lnTo>
                <a:lnTo>
                  <a:pt x="108" y="258"/>
                </a:lnTo>
                <a:lnTo>
                  <a:pt x="90" y="222"/>
                </a:lnTo>
                <a:lnTo>
                  <a:pt x="84" y="180"/>
                </a:lnTo>
                <a:lnTo>
                  <a:pt x="66" y="144"/>
                </a:lnTo>
                <a:lnTo>
                  <a:pt x="42" y="114"/>
                </a:lnTo>
                <a:lnTo>
                  <a:pt x="0" y="102"/>
                </a:lnTo>
                <a:lnTo>
                  <a:pt x="18" y="78"/>
                </a:lnTo>
                <a:lnTo>
                  <a:pt x="72" y="54"/>
                </a:lnTo>
                <a:lnTo>
                  <a:pt x="144" y="36"/>
                </a:lnTo>
                <a:lnTo>
                  <a:pt x="156" y="0"/>
                </a:lnTo>
                <a:lnTo>
                  <a:pt x="180" y="6"/>
                </a:lnTo>
                <a:lnTo>
                  <a:pt x="192" y="18"/>
                </a:lnTo>
                <a:lnTo>
                  <a:pt x="216" y="36"/>
                </a:lnTo>
                <a:lnTo>
                  <a:pt x="288" y="60"/>
                </a:lnTo>
                <a:lnTo>
                  <a:pt x="330" y="84"/>
                </a:lnTo>
                <a:lnTo>
                  <a:pt x="342" y="90"/>
                </a:lnTo>
                <a:lnTo>
                  <a:pt x="348" y="90"/>
                </a:lnTo>
                <a:lnTo>
                  <a:pt x="348" y="96"/>
                </a:lnTo>
                <a:lnTo>
                  <a:pt x="354" y="96"/>
                </a:lnTo>
                <a:lnTo>
                  <a:pt x="354" y="102"/>
                </a:lnTo>
                <a:lnTo>
                  <a:pt x="360" y="102"/>
                </a:lnTo>
                <a:lnTo>
                  <a:pt x="360" y="108"/>
                </a:lnTo>
                <a:lnTo>
                  <a:pt x="366" y="108"/>
                </a:lnTo>
                <a:lnTo>
                  <a:pt x="372" y="108"/>
                </a:lnTo>
                <a:lnTo>
                  <a:pt x="378" y="108"/>
                </a:lnTo>
                <a:lnTo>
                  <a:pt x="378" y="102"/>
                </a:lnTo>
                <a:lnTo>
                  <a:pt x="384" y="102"/>
                </a:lnTo>
                <a:lnTo>
                  <a:pt x="390" y="96"/>
                </a:lnTo>
                <a:lnTo>
                  <a:pt x="396" y="96"/>
                </a:lnTo>
                <a:lnTo>
                  <a:pt x="402" y="96"/>
                </a:lnTo>
                <a:lnTo>
                  <a:pt x="408" y="96"/>
                </a:lnTo>
                <a:lnTo>
                  <a:pt x="408" y="102"/>
                </a:lnTo>
                <a:lnTo>
                  <a:pt x="414" y="102"/>
                </a:lnTo>
                <a:lnTo>
                  <a:pt x="414" y="108"/>
                </a:lnTo>
                <a:lnTo>
                  <a:pt x="420" y="108"/>
                </a:lnTo>
                <a:lnTo>
                  <a:pt x="426" y="114"/>
                </a:lnTo>
                <a:lnTo>
                  <a:pt x="432" y="114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35" name="Freeform 77" descr="Light downward diagonal"/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7563724" y="3764880"/>
            <a:ext cx="898600" cy="524458"/>
          </a:xfrm>
          <a:custGeom>
            <a:avLst/>
            <a:gdLst>
              <a:gd name="T0" fmla="*/ 2147483647 w 498"/>
              <a:gd name="T1" fmla="*/ 2147483647 h 336"/>
              <a:gd name="T2" fmla="*/ 2147483647 w 498"/>
              <a:gd name="T3" fmla="*/ 2147483647 h 336"/>
              <a:gd name="T4" fmla="*/ 2147483647 w 498"/>
              <a:gd name="T5" fmla="*/ 2147483647 h 336"/>
              <a:gd name="T6" fmla="*/ 2147483647 w 498"/>
              <a:gd name="T7" fmla="*/ 2147483647 h 336"/>
              <a:gd name="T8" fmla="*/ 2147483647 w 498"/>
              <a:gd name="T9" fmla="*/ 2147483647 h 336"/>
              <a:gd name="T10" fmla="*/ 2147483647 w 498"/>
              <a:gd name="T11" fmla="*/ 2147483647 h 336"/>
              <a:gd name="T12" fmla="*/ 2147483647 w 498"/>
              <a:gd name="T13" fmla="*/ 2147483647 h 336"/>
              <a:gd name="T14" fmla="*/ 2147483647 w 498"/>
              <a:gd name="T15" fmla="*/ 2147483647 h 336"/>
              <a:gd name="T16" fmla="*/ 2147483647 w 498"/>
              <a:gd name="T17" fmla="*/ 2147483647 h 336"/>
              <a:gd name="T18" fmla="*/ 2147483647 w 498"/>
              <a:gd name="T19" fmla="*/ 2147483647 h 336"/>
              <a:gd name="T20" fmla="*/ 2147483647 w 498"/>
              <a:gd name="T21" fmla="*/ 2147483647 h 336"/>
              <a:gd name="T22" fmla="*/ 2147483647 w 498"/>
              <a:gd name="T23" fmla="*/ 2147483647 h 336"/>
              <a:gd name="T24" fmla="*/ 2147483647 w 498"/>
              <a:gd name="T25" fmla="*/ 2147483647 h 336"/>
              <a:gd name="T26" fmla="*/ 2147483647 w 498"/>
              <a:gd name="T27" fmla="*/ 2147483647 h 336"/>
              <a:gd name="T28" fmla="*/ 2147483647 w 498"/>
              <a:gd name="T29" fmla="*/ 2147483647 h 336"/>
              <a:gd name="T30" fmla="*/ 2147483647 w 498"/>
              <a:gd name="T31" fmla="*/ 2147483647 h 336"/>
              <a:gd name="T32" fmla="*/ 2147483647 w 498"/>
              <a:gd name="T33" fmla="*/ 2147483647 h 336"/>
              <a:gd name="T34" fmla="*/ 2147483647 w 498"/>
              <a:gd name="T35" fmla="*/ 2147483647 h 336"/>
              <a:gd name="T36" fmla="*/ 2147483647 w 498"/>
              <a:gd name="T37" fmla="*/ 2147483647 h 336"/>
              <a:gd name="T38" fmla="*/ 2147483647 w 498"/>
              <a:gd name="T39" fmla="*/ 2147483647 h 336"/>
              <a:gd name="T40" fmla="*/ 2147483647 w 498"/>
              <a:gd name="T41" fmla="*/ 2147483647 h 336"/>
              <a:gd name="T42" fmla="*/ 2147483647 w 498"/>
              <a:gd name="T43" fmla="*/ 2147483647 h 336"/>
              <a:gd name="T44" fmla="*/ 2147483647 w 498"/>
              <a:gd name="T45" fmla="*/ 2147483647 h 336"/>
              <a:gd name="T46" fmla="*/ 2147483647 w 498"/>
              <a:gd name="T47" fmla="*/ 2147483647 h 336"/>
              <a:gd name="T48" fmla="*/ 2147483647 w 498"/>
              <a:gd name="T49" fmla="*/ 2147483647 h 336"/>
              <a:gd name="T50" fmla="*/ 2147483647 w 498"/>
              <a:gd name="T51" fmla="*/ 2147483647 h 336"/>
              <a:gd name="T52" fmla="*/ 2147483647 w 498"/>
              <a:gd name="T53" fmla="*/ 2147483647 h 336"/>
              <a:gd name="T54" fmla="*/ 2147483647 w 498"/>
              <a:gd name="T55" fmla="*/ 2147483647 h 336"/>
              <a:gd name="T56" fmla="*/ 2147483647 w 498"/>
              <a:gd name="T57" fmla="*/ 2147483647 h 336"/>
              <a:gd name="T58" fmla="*/ 2147483647 w 498"/>
              <a:gd name="T59" fmla="*/ 2147483647 h 336"/>
              <a:gd name="T60" fmla="*/ 2147483647 w 498"/>
              <a:gd name="T61" fmla="*/ 2147483647 h 336"/>
              <a:gd name="T62" fmla="*/ 2147483647 w 498"/>
              <a:gd name="T63" fmla="*/ 2147483647 h 336"/>
              <a:gd name="T64" fmla="*/ 2147483647 w 498"/>
              <a:gd name="T65" fmla="*/ 2147483647 h 336"/>
              <a:gd name="T66" fmla="*/ 2147483647 w 498"/>
              <a:gd name="T67" fmla="*/ 2147483647 h 336"/>
              <a:gd name="T68" fmla="*/ 2147483647 w 498"/>
              <a:gd name="T69" fmla="*/ 2147483647 h 336"/>
              <a:gd name="T70" fmla="*/ 2147483647 w 498"/>
              <a:gd name="T71" fmla="*/ 2147483647 h 336"/>
              <a:gd name="T72" fmla="*/ 2147483647 w 498"/>
              <a:gd name="T73" fmla="*/ 2147483647 h 336"/>
              <a:gd name="T74" fmla="*/ 2147483647 w 498"/>
              <a:gd name="T75" fmla="*/ 2147483647 h 336"/>
              <a:gd name="T76" fmla="*/ 2147483647 w 498"/>
              <a:gd name="T77" fmla="*/ 2147483647 h 336"/>
              <a:gd name="T78" fmla="*/ 2147483647 w 498"/>
              <a:gd name="T79" fmla="*/ 2147483647 h 336"/>
              <a:gd name="T80" fmla="*/ 2147483647 w 498"/>
              <a:gd name="T81" fmla="*/ 2147483647 h 336"/>
              <a:gd name="T82" fmla="*/ 2147483647 w 498"/>
              <a:gd name="T83" fmla="*/ 2147483647 h 336"/>
              <a:gd name="T84" fmla="*/ 2147483647 w 498"/>
              <a:gd name="T85" fmla="*/ 2147483647 h 336"/>
              <a:gd name="T86" fmla="*/ 2147483647 w 498"/>
              <a:gd name="T87" fmla="*/ 2147483647 h 336"/>
              <a:gd name="T88" fmla="*/ 2147483647 w 498"/>
              <a:gd name="T89" fmla="*/ 2147483647 h 336"/>
              <a:gd name="T90" fmla="*/ 2147483647 w 498"/>
              <a:gd name="T91" fmla="*/ 2147483647 h 336"/>
              <a:gd name="T92" fmla="*/ 2147483647 w 498"/>
              <a:gd name="T93" fmla="*/ 2147483647 h 336"/>
              <a:gd name="T94" fmla="*/ 2147483647 w 498"/>
              <a:gd name="T95" fmla="*/ 2147483647 h 336"/>
              <a:gd name="T96" fmla="*/ 2147483647 w 498"/>
              <a:gd name="T97" fmla="*/ 2147483647 h 336"/>
              <a:gd name="T98" fmla="*/ 2147483647 w 498"/>
              <a:gd name="T99" fmla="*/ 2147483647 h 336"/>
              <a:gd name="T100" fmla="*/ 2147483647 w 498"/>
              <a:gd name="T101" fmla="*/ 2147483647 h 336"/>
              <a:gd name="T102" fmla="*/ 2147483647 w 498"/>
              <a:gd name="T103" fmla="*/ 2147483647 h 336"/>
              <a:gd name="T104" fmla="*/ 2147483647 w 498"/>
              <a:gd name="T105" fmla="*/ 2147483647 h 336"/>
              <a:gd name="T106" fmla="*/ 2147483647 w 498"/>
              <a:gd name="T107" fmla="*/ 2147483647 h 336"/>
              <a:gd name="T108" fmla="*/ 2147483647 w 498"/>
              <a:gd name="T109" fmla="*/ 2147483647 h 336"/>
              <a:gd name="T110" fmla="*/ 2147483647 w 498"/>
              <a:gd name="T111" fmla="*/ 2147483647 h 336"/>
              <a:gd name="T112" fmla="*/ 2147483647 w 498"/>
              <a:gd name="T113" fmla="*/ 2147483647 h 336"/>
              <a:gd name="T114" fmla="*/ 2147483647 w 498"/>
              <a:gd name="T115" fmla="*/ 2147483647 h 336"/>
              <a:gd name="T116" fmla="*/ 2147483647 w 498"/>
              <a:gd name="T117" fmla="*/ 2147483647 h 336"/>
              <a:gd name="T118" fmla="*/ 2147483647 w 498"/>
              <a:gd name="T119" fmla="*/ 2147483647 h 336"/>
              <a:gd name="T120" fmla="*/ 2147483647 w 498"/>
              <a:gd name="T121" fmla="*/ 2147483647 h 336"/>
              <a:gd name="T122" fmla="*/ 2147483647 w 498"/>
              <a:gd name="T123" fmla="*/ 2147483647 h 336"/>
              <a:gd name="T124" fmla="*/ 2147483647 w 498"/>
              <a:gd name="T125" fmla="*/ 2147483647 h 3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98" h="336">
                <a:moveTo>
                  <a:pt x="0" y="84"/>
                </a:moveTo>
                <a:lnTo>
                  <a:pt x="12" y="72"/>
                </a:lnTo>
                <a:lnTo>
                  <a:pt x="42" y="72"/>
                </a:lnTo>
                <a:lnTo>
                  <a:pt x="66" y="48"/>
                </a:lnTo>
                <a:lnTo>
                  <a:pt x="90" y="42"/>
                </a:lnTo>
                <a:lnTo>
                  <a:pt x="132" y="30"/>
                </a:lnTo>
                <a:lnTo>
                  <a:pt x="192" y="0"/>
                </a:lnTo>
                <a:lnTo>
                  <a:pt x="216" y="24"/>
                </a:lnTo>
                <a:lnTo>
                  <a:pt x="246" y="30"/>
                </a:lnTo>
                <a:lnTo>
                  <a:pt x="270" y="30"/>
                </a:lnTo>
                <a:lnTo>
                  <a:pt x="276" y="48"/>
                </a:lnTo>
                <a:lnTo>
                  <a:pt x="294" y="54"/>
                </a:lnTo>
                <a:lnTo>
                  <a:pt x="324" y="36"/>
                </a:lnTo>
                <a:lnTo>
                  <a:pt x="348" y="36"/>
                </a:lnTo>
                <a:lnTo>
                  <a:pt x="366" y="30"/>
                </a:lnTo>
                <a:lnTo>
                  <a:pt x="384" y="30"/>
                </a:lnTo>
                <a:lnTo>
                  <a:pt x="408" y="12"/>
                </a:lnTo>
                <a:lnTo>
                  <a:pt x="414" y="6"/>
                </a:lnTo>
                <a:lnTo>
                  <a:pt x="420" y="6"/>
                </a:lnTo>
                <a:lnTo>
                  <a:pt x="414" y="6"/>
                </a:lnTo>
                <a:lnTo>
                  <a:pt x="414" y="12"/>
                </a:lnTo>
                <a:lnTo>
                  <a:pt x="420" y="12"/>
                </a:lnTo>
                <a:lnTo>
                  <a:pt x="420" y="18"/>
                </a:lnTo>
                <a:lnTo>
                  <a:pt x="414" y="18"/>
                </a:lnTo>
                <a:lnTo>
                  <a:pt x="414" y="24"/>
                </a:lnTo>
                <a:lnTo>
                  <a:pt x="414" y="30"/>
                </a:lnTo>
                <a:lnTo>
                  <a:pt x="408" y="30"/>
                </a:lnTo>
                <a:lnTo>
                  <a:pt x="408" y="36"/>
                </a:lnTo>
                <a:lnTo>
                  <a:pt x="414" y="36"/>
                </a:lnTo>
                <a:lnTo>
                  <a:pt x="414" y="42"/>
                </a:lnTo>
                <a:lnTo>
                  <a:pt x="414" y="48"/>
                </a:lnTo>
                <a:lnTo>
                  <a:pt x="408" y="48"/>
                </a:lnTo>
                <a:lnTo>
                  <a:pt x="408" y="54"/>
                </a:lnTo>
                <a:lnTo>
                  <a:pt x="408" y="60"/>
                </a:lnTo>
                <a:lnTo>
                  <a:pt x="408" y="66"/>
                </a:lnTo>
                <a:lnTo>
                  <a:pt x="408" y="72"/>
                </a:lnTo>
                <a:lnTo>
                  <a:pt x="402" y="72"/>
                </a:lnTo>
                <a:lnTo>
                  <a:pt x="402" y="78"/>
                </a:lnTo>
                <a:lnTo>
                  <a:pt x="402" y="84"/>
                </a:lnTo>
                <a:lnTo>
                  <a:pt x="402" y="90"/>
                </a:lnTo>
                <a:lnTo>
                  <a:pt x="402" y="96"/>
                </a:lnTo>
                <a:lnTo>
                  <a:pt x="408" y="96"/>
                </a:lnTo>
                <a:lnTo>
                  <a:pt x="414" y="102"/>
                </a:lnTo>
                <a:lnTo>
                  <a:pt x="420" y="102"/>
                </a:lnTo>
                <a:lnTo>
                  <a:pt x="420" y="108"/>
                </a:lnTo>
                <a:lnTo>
                  <a:pt x="420" y="114"/>
                </a:lnTo>
                <a:lnTo>
                  <a:pt x="420" y="120"/>
                </a:lnTo>
                <a:lnTo>
                  <a:pt x="426" y="120"/>
                </a:lnTo>
                <a:lnTo>
                  <a:pt x="432" y="120"/>
                </a:lnTo>
                <a:lnTo>
                  <a:pt x="432" y="114"/>
                </a:lnTo>
                <a:lnTo>
                  <a:pt x="432" y="120"/>
                </a:lnTo>
                <a:lnTo>
                  <a:pt x="432" y="114"/>
                </a:lnTo>
                <a:lnTo>
                  <a:pt x="438" y="114"/>
                </a:lnTo>
                <a:lnTo>
                  <a:pt x="444" y="114"/>
                </a:lnTo>
                <a:lnTo>
                  <a:pt x="438" y="114"/>
                </a:lnTo>
                <a:lnTo>
                  <a:pt x="444" y="114"/>
                </a:lnTo>
                <a:lnTo>
                  <a:pt x="444" y="108"/>
                </a:lnTo>
                <a:lnTo>
                  <a:pt x="450" y="108"/>
                </a:lnTo>
                <a:lnTo>
                  <a:pt x="444" y="108"/>
                </a:lnTo>
                <a:lnTo>
                  <a:pt x="444" y="102"/>
                </a:lnTo>
                <a:lnTo>
                  <a:pt x="438" y="102"/>
                </a:lnTo>
                <a:lnTo>
                  <a:pt x="438" y="96"/>
                </a:lnTo>
                <a:lnTo>
                  <a:pt x="444" y="96"/>
                </a:lnTo>
                <a:lnTo>
                  <a:pt x="450" y="96"/>
                </a:lnTo>
                <a:lnTo>
                  <a:pt x="456" y="96"/>
                </a:lnTo>
                <a:lnTo>
                  <a:pt x="456" y="102"/>
                </a:lnTo>
                <a:lnTo>
                  <a:pt x="462" y="102"/>
                </a:lnTo>
                <a:lnTo>
                  <a:pt x="462" y="96"/>
                </a:lnTo>
                <a:lnTo>
                  <a:pt x="468" y="96"/>
                </a:lnTo>
                <a:lnTo>
                  <a:pt x="474" y="96"/>
                </a:lnTo>
                <a:lnTo>
                  <a:pt x="474" y="102"/>
                </a:lnTo>
                <a:lnTo>
                  <a:pt x="480" y="102"/>
                </a:lnTo>
                <a:lnTo>
                  <a:pt x="480" y="96"/>
                </a:lnTo>
                <a:lnTo>
                  <a:pt x="486" y="96"/>
                </a:lnTo>
                <a:lnTo>
                  <a:pt x="486" y="102"/>
                </a:lnTo>
                <a:lnTo>
                  <a:pt x="492" y="102"/>
                </a:lnTo>
                <a:lnTo>
                  <a:pt x="492" y="108"/>
                </a:lnTo>
                <a:lnTo>
                  <a:pt x="498" y="108"/>
                </a:lnTo>
                <a:lnTo>
                  <a:pt x="498" y="114"/>
                </a:lnTo>
                <a:lnTo>
                  <a:pt x="498" y="120"/>
                </a:lnTo>
                <a:lnTo>
                  <a:pt x="492" y="120"/>
                </a:lnTo>
                <a:lnTo>
                  <a:pt x="492" y="126"/>
                </a:lnTo>
                <a:lnTo>
                  <a:pt x="486" y="120"/>
                </a:lnTo>
                <a:lnTo>
                  <a:pt x="486" y="126"/>
                </a:lnTo>
                <a:lnTo>
                  <a:pt x="480" y="132"/>
                </a:lnTo>
                <a:lnTo>
                  <a:pt x="474" y="132"/>
                </a:lnTo>
                <a:lnTo>
                  <a:pt x="468" y="138"/>
                </a:lnTo>
                <a:lnTo>
                  <a:pt x="462" y="138"/>
                </a:lnTo>
                <a:lnTo>
                  <a:pt x="456" y="138"/>
                </a:lnTo>
                <a:lnTo>
                  <a:pt x="456" y="144"/>
                </a:lnTo>
                <a:lnTo>
                  <a:pt x="450" y="144"/>
                </a:lnTo>
                <a:lnTo>
                  <a:pt x="450" y="138"/>
                </a:lnTo>
                <a:lnTo>
                  <a:pt x="444" y="144"/>
                </a:lnTo>
                <a:lnTo>
                  <a:pt x="444" y="138"/>
                </a:lnTo>
                <a:lnTo>
                  <a:pt x="438" y="138"/>
                </a:lnTo>
                <a:lnTo>
                  <a:pt x="438" y="132"/>
                </a:lnTo>
                <a:lnTo>
                  <a:pt x="432" y="132"/>
                </a:lnTo>
                <a:lnTo>
                  <a:pt x="432" y="126"/>
                </a:lnTo>
                <a:lnTo>
                  <a:pt x="426" y="126"/>
                </a:lnTo>
                <a:lnTo>
                  <a:pt x="420" y="126"/>
                </a:lnTo>
                <a:lnTo>
                  <a:pt x="420" y="132"/>
                </a:lnTo>
                <a:lnTo>
                  <a:pt x="414" y="132"/>
                </a:lnTo>
                <a:lnTo>
                  <a:pt x="414" y="138"/>
                </a:lnTo>
                <a:lnTo>
                  <a:pt x="414" y="144"/>
                </a:lnTo>
                <a:lnTo>
                  <a:pt x="414" y="150"/>
                </a:lnTo>
                <a:lnTo>
                  <a:pt x="414" y="156"/>
                </a:lnTo>
                <a:lnTo>
                  <a:pt x="414" y="162"/>
                </a:lnTo>
                <a:lnTo>
                  <a:pt x="408" y="162"/>
                </a:lnTo>
                <a:lnTo>
                  <a:pt x="402" y="162"/>
                </a:lnTo>
                <a:lnTo>
                  <a:pt x="396" y="162"/>
                </a:lnTo>
                <a:lnTo>
                  <a:pt x="390" y="168"/>
                </a:lnTo>
                <a:lnTo>
                  <a:pt x="390" y="174"/>
                </a:lnTo>
                <a:lnTo>
                  <a:pt x="390" y="180"/>
                </a:lnTo>
                <a:lnTo>
                  <a:pt x="384" y="180"/>
                </a:lnTo>
                <a:lnTo>
                  <a:pt x="378" y="180"/>
                </a:lnTo>
                <a:lnTo>
                  <a:pt x="372" y="180"/>
                </a:lnTo>
                <a:lnTo>
                  <a:pt x="372" y="174"/>
                </a:lnTo>
                <a:lnTo>
                  <a:pt x="366" y="174"/>
                </a:lnTo>
                <a:lnTo>
                  <a:pt x="366" y="180"/>
                </a:lnTo>
                <a:lnTo>
                  <a:pt x="360" y="180"/>
                </a:lnTo>
                <a:lnTo>
                  <a:pt x="360" y="186"/>
                </a:lnTo>
                <a:lnTo>
                  <a:pt x="354" y="186"/>
                </a:lnTo>
                <a:lnTo>
                  <a:pt x="354" y="192"/>
                </a:lnTo>
                <a:lnTo>
                  <a:pt x="360" y="192"/>
                </a:lnTo>
                <a:lnTo>
                  <a:pt x="354" y="192"/>
                </a:lnTo>
                <a:lnTo>
                  <a:pt x="354" y="198"/>
                </a:lnTo>
                <a:lnTo>
                  <a:pt x="354" y="204"/>
                </a:lnTo>
                <a:lnTo>
                  <a:pt x="348" y="204"/>
                </a:lnTo>
                <a:lnTo>
                  <a:pt x="342" y="204"/>
                </a:lnTo>
                <a:lnTo>
                  <a:pt x="336" y="210"/>
                </a:lnTo>
                <a:lnTo>
                  <a:pt x="330" y="210"/>
                </a:lnTo>
                <a:lnTo>
                  <a:pt x="330" y="216"/>
                </a:lnTo>
                <a:lnTo>
                  <a:pt x="324" y="216"/>
                </a:lnTo>
                <a:lnTo>
                  <a:pt x="324" y="222"/>
                </a:lnTo>
                <a:lnTo>
                  <a:pt x="330" y="222"/>
                </a:lnTo>
                <a:lnTo>
                  <a:pt x="336" y="222"/>
                </a:lnTo>
                <a:lnTo>
                  <a:pt x="336" y="228"/>
                </a:lnTo>
                <a:lnTo>
                  <a:pt x="330" y="228"/>
                </a:lnTo>
                <a:lnTo>
                  <a:pt x="330" y="234"/>
                </a:lnTo>
                <a:lnTo>
                  <a:pt x="324" y="234"/>
                </a:lnTo>
                <a:lnTo>
                  <a:pt x="324" y="228"/>
                </a:lnTo>
                <a:lnTo>
                  <a:pt x="318" y="228"/>
                </a:lnTo>
                <a:lnTo>
                  <a:pt x="312" y="228"/>
                </a:lnTo>
                <a:lnTo>
                  <a:pt x="312" y="234"/>
                </a:lnTo>
                <a:lnTo>
                  <a:pt x="312" y="240"/>
                </a:lnTo>
                <a:lnTo>
                  <a:pt x="312" y="246"/>
                </a:lnTo>
                <a:lnTo>
                  <a:pt x="306" y="246"/>
                </a:lnTo>
                <a:lnTo>
                  <a:pt x="306" y="252"/>
                </a:lnTo>
                <a:lnTo>
                  <a:pt x="300" y="252"/>
                </a:lnTo>
                <a:lnTo>
                  <a:pt x="294" y="252"/>
                </a:lnTo>
                <a:lnTo>
                  <a:pt x="294" y="258"/>
                </a:lnTo>
                <a:lnTo>
                  <a:pt x="300" y="258"/>
                </a:lnTo>
                <a:lnTo>
                  <a:pt x="300" y="264"/>
                </a:lnTo>
                <a:lnTo>
                  <a:pt x="294" y="264"/>
                </a:lnTo>
                <a:lnTo>
                  <a:pt x="288" y="264"/>
                </a:lnTo>
                <a:lnTo>
                  <a:pt x="282" y="270"/>
                </a:lnTo>
                <a:lnTo>
                  <a:pt x="276" y="270"/>
                </a:lnTo>
                <a:lnTo>
                  <a:pt x="282" y="276"/>
                </a:lnTo>
                <a:lnTo>
                  <a:pt x="282" y="282"/>
                </a:lnTo>
                <a:lnTo>
                  <a:pt x="288" y="282"/>
                </a:lnTo>
                <a:lnTo>
                  <a:pt x="288" y="288"/>
                </a:lnTo>
                <a:lnTo>
                  <a:pt x="282" y="288"/>
                </a:lnTo>
                <a:lnTo>
                  <a:pt x="276" y="288"/>
                </a:lnTo>
                <a:lnTo>
                  <a:pt x="276" y="294"/>
                </a:lnTo>
                <a:lnTo>
                  <a:pt x="264" y="294"/>
                </a:lnTo>
                <a:lnTo>
                  <a:pt x="258" y="294"/>
                </a:lnTo>
                <a:lnTo>
                  <a:pt x="258" y="300"/>
                </a:lnTo>
                <a:lnTo>
                  <a:pt x="258" y="306"/>
                </a:lnTo>
                <a:lnTo>
                  <a:pt x="252" y="306"/>
                </a:lnTo>
                <a:lnTo>
                  <a:pt x="252" y="312"/>
                </a:lnTo>
                <a:lnTo>
                  <a:pt x="246" y="312"/>
                </a:lnTo>
                <a:lnTo>
                  <a:pt x="246" y="318"/>
                </a:lnTo>
                <a:lnTo>
                  <a:pt x="240" y="318"/>
                </a:lnTo>
                <a:lnTo>
                  <a:pt x="240" y="324"/>
                </a:lnTo>
                <a:lnTo>
                  <a:pt x="234" y="324"/>
                </a:lnTo>
                <a:lnTo>
                  <a:pt x="228" y="330"/>
                </a:lnTo>
                <a:lnTo>
                  <a:pt x="222" y="336"/>
                </a:lnTo>
                <a:lnTo>
                  <a:pt x="216" y="336"/>
                </a:lnTo>
                <a:lnTo>
                  <a:pt x="210" y="336"/>
                </a:lnTo>
                <a:lnTo>
                  <a:pt x="192" y="306"/>
                </a:lnTo>
                <a:lnTo>
                  <a:pt x="180" y="276"/>
                </a:lnTo>
                <a:lnTo>
                  <a:pt x="156" y="258"/>
                </a:lnTo>
                <a:lnTo>
                  <a:pt x="132" y="258"/>
                </a:lnTo>
                <a:lnTo>
                  <a:pt x="90" y="246"/>
                </a:lnTo>
                <a:lnTo>
                  <a:pt x="84" y="222"/>
                </a:lnTo>
                <a:lnTo>
                  <a:pt x="36" y="204"/>
                </a:lnTo>
                <a:lnTo>
                  <a:pt x="36" y="168"/>
                </a:lnTo>
                <a:lnTo>
                  <a:pt x="30" y="144"/>
                </a:lnTo>
                <a:lnTo>
                  <a:pt x="18" y="126"/>
                </a:lnTo>
                <a:lnTo>
                  <a:pt x="6" y="102"/>
                </a:lnTo>
                <a:lnTo>
                  <a:pt x="0" y="84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36" name="Freeform 78"/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6059944" y="1775243"/>
            <a:ext cx="1146173" cy="755513"/>
          </a:xfrm>
          <a:custGeom>
            <a:avLst/>
            <a:gdLst>
              <a:gd name="T0" fmla="*/ 0 w 636"/>
              <a:gd name="T1" fmla="*/ 2147483647 h 486"/>
              <a:gd name="T2" fmla="*/ 2147483647 w 636"/>
              <a:gd name="T3" fmla="*/ 2147483647 h 486"/>
              <a:gd name="T4" fmla="*/ 2147483647 w 636"/>
              <a:gd name="T5" fmla="*/ 2147483647 h 486"/>
              <a:gd name="T6" fmla="*/ 2147483647 w 636"/>
              <a:gd name="T7" fmla="*/ 2147483647 h 486"/>
              <a:gd name="T8" fmla="*/ 2147483647 w 636"/>
              <a:gd name="T9" fmla="*/ 2147483647 h 486"/>
              <a:gd name="T10" fmla="*/ 2147483647 w 636"/>
              <a:gd name="T11" fmla="*/ 2147483647 h 486"/>
              <a:gd name="T12" fmla="*/ 2147483647 w 636"/>
              <a:gd name="T13" fmla="*/ 2147483647 h 486"/>
              <a:gd name="T14" fmla="*/ 2147483647 w 636"/>
              <a:gd name="T15" fmla="*/ 2147483647 h 486"/>
              <a:gd name="T16" fmla="*/ 2147483647 w 636"/>
              <a:gd name="T17" fmla="*/ 2147483647 h 486"/>
              <a:gd name="T18" fmla="*/ 2147483647 w 636"/>
              <a:gd name="T19" fmla="*/ 2147483647 h 486"/>
              <a:gd name="T20" fmla="*/ 2147483647 w 636"/>
              <a:gd name="T21" fmla="*/ 2147483647 h 486"/>
              <a:gd name="T22" fmla="*/ 2147483647 w 636"/>
              <a:gd name="T23" fmla="*/ 2147483647 h 486"/>
              <a:gd name="T24" fmla="*/ 2147483647 w 636"/>
              <a:gd name="T25" fmla="*/ 2147483647 h 486"/>
              <a:gd name="T26" fmla="*/ 2147483647 w 636"/>
              <a:gd name="T27" fmla="*/ 2147483647 h 486"/>
              <a:gd name="T28" fmla="*/ 2147483647 w 636"/>
              <a:gd name="T29" fmla="*/ 2147483647 h 486"/>
              <a:gd name="T30" fmla="*/ 2147483647 w 636"/>
              <a:gd name="T31" fmla="*/ 2147483647 h 486"/>
              <a:gd name="T32" fmla="*/ 2147483647 w 636"/>
              <a:gd name="T33" fmla="*/ 2147483647 h 486"/>
              <a:gd name="T34" fmla="*/ 2147483647 w 636"/>
              <a:gd name="T35" fmla="*/ 2147483647 h 486"/>
              <a:gd name="T36" fmla="*/ 2147483647 w 636"/>
              <a:gd name="T37" fmla="*/ 0 h 486"/>
              <a:gd name="T38" fmla="*/ 2147483647 w 636"/>
              <a:gd name="T39" fmla="*/ 2147483647 h 486"/>
              <a:gd name="T40" fmla="*/ 2147483647 w 636"/>
              <a:gd name="T41" fmla="*/ 2147483647 h 486"/>
              <a:gd name="T42" fmla="*/ 2147483647 w 636"/>
              <a:gd name="T43" fmla="*/ 2147483647 h 486"/>
              <a:gd name="T44" fmla="*/ 2147483647 w 636"/>
              <a:gd name="T45" fmla="*/ 2147483647 h 486"/>
              <a:gd name="T46" fmla="*/ 2147483647 w 636"/>
              <a:gd name="T47" fmla="*/ 2147483647 h 486"/>
              <a:gd name="T48" fmla="*/ 2147483647 w 636"/>
              <a:gd name="T49" fmla="*/ 2147483647 h 486"/>
              <a:gd name="T50" fmla="*/ 2147483647 w 636"/>
              <a:gd name="T51" fmla="*/ 2147483647 h 486"/>
              <a:gd name="T52" fmla="*/ 2147483647 w 636"/>
              <a:gd name="T53" fmla="*/ 2147483647 h 486"/>
              <a:gd name="T54" fmla="*/ 2147483647 w 636"/>
              <a:gd name="T55" fmla="*/ 2147483647 h 486"/>
              <a:gd name="T56" fmla="*/ 2147483647 w 636"/>
              <a:gd name="T57" fmla="*/ 2147483647 h 486"/>
              <a:gd name="T58" fmla="*/ 2147483647 w 636"/>
              <a:gd name="T59" fmla="*/ 2147483647 h 486"/>
              <a:gd name="T60" fmla="*/ 2147483647 w 636"/>
              <a:gd name="T61" fmla="*/ 2147483647 h 486"/>
              <a:gd name="T62" fmla="*/ 2147483647 w 636"/>
              <a:gd name="T63" fmla="*/ 2147483647 h 486"/>
              <a:gd name="T64" fmla="*/ 2147483647 w 636"/>
              <a:gd name="T65" fmla="*/ 2147483647 h 486"/>
              <a:gd name="T66" fmla="*/ 2147483647 w 636"/>
              <a:gd name="T67" fmla="*/ 2147483647 h 486"/>
              <a:gd name="T68" fmla="*/ 2147483647 w 636"/>
              <a:gd name="T69" fmla="*/ 2147483647 h 486"/>
              <a:gd name="T70" fmla="*/ 2147483647 w 636"/>
              <a:gd name="T71" fmla="*/ 2147483647 h 486"/>
              <a:gd name="T72" fmla="*/ 2147483647 w 636"/>
              <a:gd name="T73" fmla="*/ 2147483647 h 486"/>
              <a:gd name="T74" fmla="*/ 2147483647 w 636"/>
              <a:gd name="T75" fmla="*/ 2147483647 h 486"/>
              <a:gd name="T76" fmla="*/ 2147483647 w 636"/>
              <a:gd name="T77" fmla="*/ 2147483647 h 486"/>
              <a:gd name="T78" fmla="*/ 2147483647 w 636"/>
              <a:gd name="T79" fmla="*/ 2147483647 h 486"/>
              <a:gd name="T80" fmla="*/ 2147483647 w 636"/>
              <a:gd name="T81" fmla="*/ 2147483647 h 486"/>
              <a:gd name="T82" fmla="*/ 2147483647 w 636"/>
              <a:gd name="T83" fmla="*/ 2147483647 h 486"/>
              <a:gd name="T84" fmla="*/ 2147483647 w 636"/>
              <a:gd name="T85" fmla="*/ 2147483647 h 486"/>
              <a:gd name="T86" fmla="*/ 2147483647 w 636"/>
              <a:gd name="T87" fmla="*/ 2147483647 h 486"/>
              <a:gd name="T88" fmla="*/ 2147483647 w 636"/>
              <a:gd name="T89" fmla="*/ 2147483647 h 486"/>
              <a:gd name="T90" fmla="*/ 2147483647 w 636"/>
              <a:gd name="T91" fmla="*/ 2147483647 h 486"/>
              <a:gd name="T92" fmla="*/ 2147483647 w 636"/>
              <a:gd name="T93" fmla="*/ 2147483647 h 486"/>
              <a:gd name="T94" fmla="*/ 2147483647 w 636"/>
              <a:gd name="T95" fmla="*/ 2147483647 h 486"/>
              <a:gd name="T96" fmla="*/ 2147483647 w 636"/>
              <a:gd name="T97" fmla="*/ 2147483647 h 486"/>
              <a:gd name="T98" fmla="*/ 2147483647 w 636"/>
              <a:gd name="T99" fmla="*/ 2147483647 h 486"/>
              <a:gd name="T100" fmla="*/ 2147483647 w 636"/>
              <a:gd name="T101" fmla="*/ 2147483647 h 486"/>
              <a:gd name="T102" fmla="*/ 2147483647 w 636"/>
              <a:gd name="T103" fmla="*/ 2147483647 h 486"/>
              <a:gd name="T104" fmla="*/ 2147483647 w 636"/>
              <a:gd name="T105" fmla="*/ 2147483647 h 486"/>
              <a:gd name="T106" fmla="*/ 0 w 636"/>
              <a:gd name="T107" fmla="*/ 2147483647 h 48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636" h="486">
                <a:moveTo>
                  <a:pt x="0" y="462"/>
                </a:moveTo>
                <a:lnTo>
                  <a:pt x="24" y="432"/>
                </a:lnTo>
                <a:lnTo>
                  <a:pt x="36" y="408"/>
                </a:lnTo>
                <a:lnTo>
                  <a:pt x="24" y="378"/>
                </a:lnTo>
                <a:lnTo>
                  <a:pt x="12" y="354"/>
                </a:lnTo>
                <a:lnTo>
                  <a:pt x="24" y="306"/>
                </a:lnTo>
                <a:lnTo>
                  <a:pt x="90" y="258"/>
                </a:lnTo>
                <a:lnTo>
                  <a:pt x="132" y="222"/>
                </a:lnTo>
                <a:lnTo>
                  <a:pt x="144" y="180"/>
                </a:lnTo>
                <a:lnTo>
                  <a:pt x="162" y="132"/>
                </a:lnTo>
                <a:lnTo>
                  <a:pt x="192" y="114"/>
                </a:lnTo>
                <a:lnTo>
                  <a:pt x="222" y="96"/>
                </a:lnTo>
                <a:lnTo>
                  <a:pt x="246" y="90"/>
                </a:lnTo>
                <a:lnTo>
                  <a:pt x="264" y="84"/>
                </a:lnTo>
                <a:lnTo>
                  <a:pt x="276" y="54"/>
                </a:lnTo>
                <a:lnTo>
                  <a:pt x="288" y="30"/>
                </a:lnTo>
                <a:lnTo>
                  <a:pt x="330" y="12"/>
                </a:lnTo>
                <a:lnTo>
                  <a:pt x="354" y="6"/>
                </a:lnTo>
                <a:lnTo>
                  <a:pt x="402" y="0"/>
                </a:lnTo>
                <a:lnTo>
                  <a:pt x="420" y="6"/>
                </a:lnTo>
                <a:lnTo>
                  <a:pt x="432" y="24"/>
                </a:lnTo>
                <a:lnTo>
                  <a:pt x="450" y="36"/>
                </a:lnTo>
                <a:lnTo>
                  <a:pt x="456" y="60"/>
                </a:lnTo>
                <a:lnTo>
                  <a:pt x="510" y="54"/>
                </a:lnTo>
                <a:lnTo>
                  <a:pt x="528" y="48"/>
                </a:lnTo>
                <a:lnTo>
                  <a:pt x="528" y="78"/>
                </a:lnTo>
                <a:lnTo>
                  <a:pt x="534" y="96"/>
                </a:lnTo>
                <a:lnTo>
                  <a:pt x="546" y="114"/>
                </a:lnTo>
                <a:lnTo>
                  <a:pt x="558" y="138"/>
                </a:lnTo>
                <a:lnTo>
                  <a:pt x="552" y="150"/>
                </a:lnTo>
                <a:lnTo>
                  <a:pt x="576" y="168"/>
                </a:lnTo>
                <a:lnTo>
                  <a:pt x="588" y="192"/>
                </a:lnTo>
                <a:lnTo>
                  <a:pt x="612" y="216"/>
                </a:lnTo>
                <a:lnTo>
                  <a:pt x="636" y="240"/>
                </a:lnTo>
                <a:lnTo>
                  <a:pt x="576" y="252"/>
                </a:lnTo>
                <a:lnTo>
                  <a:pt x="552" y="276"/>
                </a:lnTo>
                <a:lnTo>
                  <a:pt x="528" y="300"/>
                </a:lnTo>
                <a:lnTo>
                  <a:pt x="510" y="318"/>
                </a:lnTo>
                <a:lnTo>
                  <a:pt x="492" y="342"/>
                </a:lnTo>
                <a:lnTo>
                  <a:pt x="486" y="354"/>
                </a:lnTo>
                <a:lnTo>
                  <a:pt x="456" y="360"/>
                </a:lnTo>
                <a:lnTo>
                  <a:pt x="432" y="354"/>
                </a:lnTo>
                <a:lnTo>
                  <a:pt x="396" y="378"/>
                </a:lnTo>
                <a:lnTo>
                  <a:pt x="366" y="384"/>
                </a:lnTo>
                <a:lnTo>
                  <a:pt x="348" y="402"/>
                </a:lnTo>
                <a:lnTo>
                  <a:pt x="324" y="420"/>
                </a:lnTo>
                <a:lnTo>
                  <a:pt x="240" y="408"/>
                </a:lnTo>
                <a:lnTo>
                  <a:pt x="210" y="414"/>
                </a:lnTo>
                <a:lnTo>
                  <a:pt x="192" y="438"/>
                </a:lnTo>
                <a:lnTo>
                  <a:pt x="108" y="408"/>
                </a:lnTo>
                <a:lnTo>
                  <a:pt x="84" y="420"/>
                </a:lnTo>
                <a:lnTo>
                  <a:pt x="48" y="486"/>
                </a:lnTo>
                <a:lnTo>
                  <a:pt x="30" y="480"/>
                </a:lnTo>
                <a:lnTo>
                  <a:pt x="0" y="462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37" name="Freeform 79"/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7217119" y="2690292"/>
            <a:ext cx="574004" cy="449274"/>
          </a:xfrm>
          <a:custGeom>
            <a:avLst/>
            <a:gdLst>
              <a:gd name="T0" fmla="*/ 2147483647 w 318"/>
              <a:gd name="T1" fmla="*/ 2147483647 h 288"/>
              <a:gd name="T2" fmla="*/ 2147483647 w 318"/>
              <a:gd name="T3" fmla="*/ 2147483647 h 288"/>
              <a:gd name="T4" fmla="*/ 2147483647 w 318"/>
              <a:gd name="T5" fmla="*/ 2147483647 h 288"/>
              <a:gd name="T6" fmla="*/ 2147483647 w 318"/>
              <a:gd name="T7" fmla="*/ 2147483647 h 288"/>
              <a:gd name="T8" fmla="*/ 2147483647 w 318"/>
              <a:gd name="T9" fmla="*/ 0 h 288"/>
              <a:gd name="T10" fmla="*/ 2147483647 w 318"/>
              <a:gd name="T11" fmla="*/ 2147483647 h 288"/>
              <a:gd name="T12" fmla="*/ 2147483647 w 318"/>
              <a:gd name="T13" fmla="*/ 2147483647 h 288"/>
              <a:gd name="T14" fmla="*/ 2147483647 w 318"/>
              <a:gd name="T15" fmla="*/ 2147483647 h 288"/>
              <a:gd name="T16" fmla="*/ 2147483647 w 318"/>
              <a:gd name="T17" fmla="*/ 2147483647 h 288"/>
              <a:gd name="T18" fmla="*/ 2147483647 w 318"/>
              <a:gd name="T19" fmla="*/ 2147483647 h 288"/>
              <a:gd name="T20" fmla="*/ 2147483647 w 318"/>
              <a:gd name="T21" fmla="*/ 2147483647 h 288"/>
              <a:gd name="T22" fmla="*/ 2147483647 w 318"/>
              <a:gd name="T23" fmla="*/ 2147483647 h 288"/>
              <a:gd name="T24" fmla="*/ 2147483647 w 318"/>
              <a:gd name="T25" fmla="*/ 2147483647 h 288"/>
              <a:gd name="T26" fmla="*/ 2147483647 w 318"/>
              <a:gd name="T27" fmla="*/ 2147483647 h 288"/>
              <a:gd name="T28" fmla="*/ 2147483647 w 318"/>
              <a:gd name="T29" fmla="*/ 2147483647 h 288"/>
              <a:gd name="T30" fmla="*/ 2147483647 w 318"/>
              <a:gd name="T31" fmla="*/ 2147483647 h 288"/>
              <a:gd name="T32" fmla="*/ 2147483647 w 318"/>
              <a:gd name="T33" fmla="*/ 2147483647 h 288"/>
              <a:gd name="T34" fmla="*/ 2147483647 w 318"/>
              <a:gd name="T35" fmla="*/ 2147483647 h 288"/>
              <a:gd name="T36" fmla="*/ 2147483647 w 318"/>
              <a:gd name="T37" fmla="*/ 2147483647 h 288"/>
              <a:gd name="T38" fmla="*/ 2147483647 w 318"/>
              <a:gd name="T39" fmla="*/ 2147483647 h 288"/>
              <a:gd name="T40" fmla="*/ 2147483647 w 318"/>
              <a:gd name="T41" fmla="*/ 2147483647 h 288"/>
              <a:gd name="T42" fmla="*/ 2147483647 w 318"/>
              <a:gd name="T43" fmla="*/ 2147483647 h 288"/>
              <a:gd name="T44" fmla="*/ 0 w 318"/>
              <a:gd name="T45" fmla="*/ 2147483647 h 288"/>
              <a:gd name="T46" fmla="*/ 2147483647 w 318"/>
              <a:gd name="T47" fmla="*/ 2147483647 h 288"/>
              <a:gd name="T48" fmla="*/ 2147483647 w 318"/>
              <a:gd name="T49" fmla="*/ 2147483647 h 288"/>
              <a:gd name="T50" fmla="*/ 2147483647 w 318"/>
              <a:gd name="T51" fmla="*/ 2147483647 h 28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318" h="288">
                <a:moveTo>
                  <a:pt x="54" y="72"/>
                </a:moveTo>
                <a:lnTo>
                  <a:pt x="90" y="60"/>
                </a:lnTo>
                <a:lnTo>
                  <a:pt x="144" y="48"/>
                </a:lnTo>
                <a:lnTo>
                  <a:pt x="192" y="36"/>
                </a:lnTo>
                <a:lnTo>
                  <a:pt x="210" y="0"/>
                </a:lnTo>
                <a:lnTo>
                  <a:pt x="252" y="12"/>
                </a:lnTo>
                <a:lnTo>
                  <a:pt x="276" y="42"/>
                </a:lnTo>
                <a:lnTo>
                  <a:pt x="294" y="78"/>
                </a:lnTo>
                <a:lnTo>
                  <a:pt x="300" y="120"/>
                </a:lnTo>
                <a:lnTo>
                  <a:pt x="318" y="156"/>
                </a:lnTo>
                <a:lnTo>
                  <a:pt x="318" y="204"/>
                </a:lnTo>
                <a:lnTo>
                  <a:pt x="282" y="204"/>
                </a:lnTo>
                <a:lnTo>
                  <a:pt x="240" y="216"/>
                </a:lnTo>
                <a:lnTo>
                  <a:pt x="186" y="240"/>
                </a:lnTo>
                <a:lnTo>
                  <a:pt x="162" y="258"/>
                </a:lnTo>
                <a:lnTo>
                  <a:pt x="138" y="264"/>
                </a:lnTo>
                <a:lnTo>
                  <a:pt x="96" y="288"/>
                </a:lnTo>
                <a:lnTo>
                  <a:pt x="84" y="276"/>
                </a:lnTo>
                <a:lnTo>
                  <a:pt x="60" y="228"/>
                </a:lnTo>
                <a:lnTo>
                  <a:pt x="48" y="210"/>
                </a:lnTo>
                <a:lnTo>
                  <a:pt x="30" y="222"/>
                </a:lnTo>
                <a:lnTo>
                  <a:pt x="12" y="210"/>
                </a:lnTo>
                <a:lnTo>
                  <a:pt x="0" y="144"/>
                </a:lnTo>
                <a:lnTo>
                  <a:pt x="42" y="120"/>
                </a:lnTo>
                <a:lnTo>
                  <a:pt x="72" y="84"/>
                </a:lnTo>
                <a:lnTo>
                  <a:pt x="54" y="72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38" name="Freeform 80"/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8418309" y="2915847"/>
            <a:ext cx="638190" cy="401595"/>
          </a:xfrm>
          <a:custGeom>
            <a:avLst/>
            <a:gdLst>
              <a:gd name="T0" fmla="*/ 2147483647 w 354"/>
              <a:gd name="T1" fmla="*/ 2147483647 h 258"/>
              <a:gd name="T2" fmla="*/ 2147483647 w 354"/>
              <a:gd name="T3" fmla="*/ 2147483647 h 258"/>
              <a:gd name="T4" fmla="*/ 2147483647 w 354"/>
              <a:gd name="T5" fmla="*/ 0 h 258"/>
              <a:gd name="T6" fmla="*/ 2147483647 w 354"/>
              <a:gd name="T7" fmla="*/ 0 h 258"/>
              <a:gd name="T8" fmla="*/ 2147483647 w 354"/>
              <a:gd name="T9" fmla="*/ 2147483647 h 258"/>
              <a:gd name="T10" fmla="*/ 2147483647 w 354"/>
              <a:gd name="T11" fmla="*/ 2147483647 h 258"/>
              <a:gd name="T12" fmla="*/ 2147483647 w 354"/>
              <a:gd name="T13" fmla="*/ 2147483647 h 258"/>
              <a:gd name="T14" fmla="*/ 2147483647 w 354"/>
              <a:gd name="T15" fmla="*/ 2147483647 h 258"/>
              <a:gd name="T16" fmla="*/ 2147483647 w 354"/>
              <a:gd name="T17" fmla="*/ 2147483647 h 258"/>
              <a:gd name="T18" fmla="*/ 2147483647 w 354"/>
              <a:gd name="T19" fmla="*/ 2147483647 h 258"/>
              <a:gd name="T20" fmla="*/ 2147483647 w 354"/>
              <a:gd name="T21" fmla="*/ 2147483647 h 258"/>
              <a:gd name="T22" fmla="*/ 2147483647 w 354"/>
              <a:gd name="T23" fmla="*/ 2147483647 h 258"/>
              <a:gd name="T24" fmla="*/ 2147483647 w 354"/>
              <a:gd name="T25" fmla="*/ 2147483647 h 258"/>
              <a:gd name="T26" fmla="*/ 2147483647 w 354"/>
              <a:gd name="T27" fmla="*/ 2147483647 h 258"/>
              <a:gd name="T28" fmla="*/ 2147483647 w 354"/>
              <a:gd name="T29" fmla="*/ 2147483647 h 258"/>
              <a:gd name="T30" fmla="*/ 2147483647 w 354"/>
              <a:gd name="T31" fmla="*/ 2147483647 h 258"/>
              <a:gd name="T32" fmla="*/ 2147483647 w 354"/>
              <a:gd name="T33" fmla="*/ 2147483647 h 258"/>
              <a:gd name="T34" fmla="*/ 2147483647 w 354"/>
              <a:gd name="T35" fmla="*/ 2147483647 h 258"/>
              <a:gd name="T36" fmla="*/ 2147483647 w 354"/>
              <a:gd name="T37" fmla="*/ 2147483647 h 258"/>
              <a:gd name="T38" fmla="*/ 2147483647 w 354"/>
              <a:gd name="T39" fmla="*/ 2147483647 h 258"/>
              <a:gd name="T40" fmla="*/ 2147483647 w 354"/>
              <a:gd name="T41" fmla="*/ 2147483647 h 258"/>
              <a:gd name="T42" fmla="*/ 2147483647 w 354"/>
              <a:gd name="T43" fmla="*/ 2147483647 h 258"/>
              <a:gd name="T44" fmla="*/ 2147483647 w 354"/>
              <a:gd name="T45" fmla="*/ 2147483647 h 258"/>
              <a:gd name="T46" fmla="*/ 2147483647 w 354"/>
              <a:gd name="T47" fmla="*/ 2147483647 h 258"/>
              <a:gd name="T48" fmla="*/ 2147483647 w 354"/>
              <a:gd name="T49" fmla="*/ 2147483647 h 258"/>
              <a:gd name="T50" fmla="*/ 2147483647 w 354"/>
              <a:gd name="T51" fmla="*/ 2147483647 h 258"/>
              <a:gd name="T52" fmla="*/ 2147483647 w 354"/>
              <a:gd name="T53" fmla="*/ 2147483647 h 258"/>
              <a:gd name="T54" fmla="*/ 2147483647 w 354"/>
              <a:gd name="T55" fmla="*/ 2147483647 h 258"/>
              <a:gd name="T56" fmla="*/ 2147483647 w 354"/>
              <a:gd name="T57" fmla="*/ 2147483647 h 258"/>
              <a:gd name="T58" fmla="*/ 2147483647 w 354"/>
              <a:gd name="T59" fmla="*/ 2147483647 h 258"/>
              <a:gd name="T60" fmla="*/ 2147483647 w 354"/>
              <a:gd name="T61" fmla="*/ 2147483647 h 258"/>
              <a:gd name="T62" fmla="*/ 2147483647 w 354"/>
              <a:gd name="T63" fmla="*/ 2147483647 h 258"/>
              <a:gd name="T64" fmla="*/ 2147483647 w 354"/>
              <a:gd name="T65" fmla="*/ 2147483647 h 258"/>
              <a:gd name="T66" fmla="*/ 2147483647 w 354"/>
              <a:gd name="T67" fmla="*/ 2147483647 h 258"/>
              <a:gd name="T68" fmla="*/ 2147483647 w 354"/>
              <a:gd name="T69" fmla="*/ 2147483647 h 258"/>
              <a:gd name="T70" fmla="*/ 2147483647 w 354"/>
              <a:gd name="T71" fmla="*/ 2147483647 h 258"/>
              <a:gd name="T72" fmla="*/ 2147483647 w 354"/>
              <a:gd name="T73" fmla="*/ 2147483647 h 258"/>
              <a:gd name="T74" fmla="*/ 2147483647 w 354"/>
              <a:gd name="T75" fmla="*/ 2147483647 h 258"/>
              <a:gd name="T76" fmla="*/ 2147483647 w 354"/>
              <a:gd name="T77" fmla="*/ 2147483647 h 258"/>
              <a:gd name="T78" fmla="*/ 2147483647 w 354"/>
              <a:gd name="T79" fmla="*/ 2147483647 h 258"/>
              <a:gd name="T80" fmla="*/ 2147483647 w 354"/>
              <a:gd name="T81" fmla="*/ 2147483647 h 258"/>
              <a:gd name="T82" fmla="*/ 2147483647 w 354"/>
              <a:gd name="T83" fmla="*/ 2147483647 h 258"/>
              <a:gd name="T84" fmla="*/ 2147483647 w 354"/>
              <a:gd name="T85" fmla="*/ 2147483647 h 258"/>
              <a:gd name="T86" fmla="*/ 2147483647 w 354"/>
              <a:gd name="T87" fmla="*/ 2147483647 h 258"/>
              <a:gd name="T88" fmla="*/ 2147483647 w 354"/>
              <a:gd name="T89" fmla="*/ 2147483647 h 258"/>
              <a:gd name="T90" fmla="*/ 2147483647 w 354"/>
              <a:gd name="T91" fmla="*/ 2147483647 h 258"/>
              <a:gd name="T92" fmla="*/ 2147483647 w 354"/>
              <a:gd name="T93" fmla="*/ 2147483647 h 258"/>
              <a:gd name="T94" fmla="*/ 2147483647 w 354"/>
              <a:gd name="T95" fmla="*/ 2147483647 h 258"/>
              <a:gd name="T96" fmla="*/ 2147483647 w 354"/>
              <a:gd name="T97" fmla="*/ 2147483647 h 258"/>
              <a:gd name="T98" fmla="*/ 2147483647 w 354"/>
              <a:gd name="T99" fmla="*/ 2147483647 h 258"/>
              <a:gd name="T100" fmla="*/ 2147483647 w 354"/>
              <a:gd name="T101" fmla="*/ 2147483647 h 258"/>
              <a:gd name="T102" fmla="*/ 2147483647 w 354"/>
              <a:gd name="T103" fmla="*/ 2147483647 h 258"/>
              <a:gd name="T104" fmla="*/ 2147483647 w 354"/>
              <a:gd name="T105" fmla="*/ 2147483647 h 258"/>
              <a:gd name="T106" fmla="*/ 2147483647 w 354"/>
              <a:gd name="T107" fmla="*/ 2147483647 h 258"/>
              <a:gd name="T108" fmla="*/ 2147483647 w 354"/>
              <a:gd name="T109" fmla="*/ 2147483647 h 25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354" h="258">
                <a:moveTo>
                  <a:pt x="156" y="12"/>
                </a:moveTo>
                <a:lnTo>
                  <a:pt x="162" y="12"/>
                </a:lnTo>
                <a:lnTo>
                  <a:pt x="168" y="12"/>
                </a:lnTo>
                <a:lnTo>
                  <a:pt x="174" y="12"/>
                </a:lnTo>
                <a:lnTo>
                  <a:pt x="180" y="6"/>
                </a:lnTo>
                <a:lnTo>
                  <a:pt x="186" y="6"/>
                </a:lnTo>
                <a:lnTo>
                  <a:pt x="186" y="0"/>
                </a:lnTo>
                <a:lnTo>
                  <a:pt x="192" y="0"/>
                </a:lnTo>
                <a:lnTo>
                  <a:pt x="198" y="0"/>
                </a:lnTo>
                <a:lnTo>
                  <a:pt x="204" y="0"/>
                </a:lnTo>
                <a:lnTo>
                  <a:pt x="210" y="0"/>
                </a:lnTo>
                <a:lnTo>
                  <a:pt x="216" y="0"/>
                </a:lnTo>
                <a:lnTo>
                  <a:pt x="216" y="6"/>
                </a:lnTo>
                <a:lnTo>
                  <a:pt x="222" y="6"/>
                </a:lnTo>
                <a:lnTo>
                  <a:pt x="228" y="6"/>
                </a:lnTo>
                <a:lnTo>
                  <a:pt x="228" y="12"/>
                </a:lnTo>
                <a:lnTo>
                  <a:pt x="234" y="12"/>
                </a:lnTo>
                <a:lnTo>
                  <a:pt x="234" y="18"/>
                </a:lnTo>
                <a:lnTo>
                  <a:pt x="240" y="18"/>
                </a:lnTo>
                <a:lnTo>
                  <a:pt x="240" y="24"/>
                </a:lnTo>
                <a:lnTo>
                  <a:pt x="246" y="24"/>
                </a:lnTo>
                <a:lnTo>
                  <a:pt x="246" y="30"/>
                </a:lnTo>
                <a:lnTo>
                  <a:pt x="252" y="30"/>
                </a:lnTo>
                <a:lnTo>
                  <a:pt x="258" y="30"/>
                </a:lnTo>
                <a:lnTo>
                  <a:pt x="258" y="36"/>
                </a:lnTo>
                <a:lnTo>
                  <a:pt x="264" y="36"/>
                </a:lnTo>
                <a:lnTo>
                  <a:pt x="270" y="36"/>
                </a:lnTo>
                <a:lnTo>
                  <a:pt x="270" y="30"/>
                </a:lnTo>
                <a:lnTo>
                  <a:pt x="276" y="30"/>
                </a:lnTo>
                <a:lnTo>
                  <a:pt x="282" y="30"/>
                </a:lnTo>
                <a:lnTo>
                  <a:pt x="282" y="36"/>
                </a:lnTo>
                <a:lnTo>
                  <a:pt x="288" y="36"/>
                </a:lnTo>
                <a:lnTo>
                  <a:pt x="294" y="36"/>
                </a:lnTo>
                <a:lnTo>
                  <a:pt x="294" y="42"/>
                </a:lnTo>
                <a:lnTo>
                  <a:pt x="300" y="42"/>
                </a:lnTo>
                <a:lnTo>
                  <a:pt x="306" y="48"/>
                </a:lnTo>
                <a:lnTo>
                  <a:pt x="312" y="48"/>
                </a:lnTo>
                <a:lnTo>
                  <a:pt x="312" y="54"/>
                </a:lnTo>
                <a:lnTo>
                  <a:pt x="318" y="54"/>
                </a:lnTo>
                <a:lnTo>
                  <a:pt x="324" y="54"/>
                </a:lnTo>
                <a:lnTo>
                  <a:pt x="324" y="60"/>
                </a:lnTo>
                <a:lnTo>
                  <a:pt x="330" y="60"/>
                </a:lnTo>
                <a:lnTo>
                  <a:pt x="330" y="66"/>
                </a:lnTo>
                <a:lnTo>
                  <a:pt x="330" y="72"/>
                </a:lnTo>
                <a:lnTo>
                  <a:pt x="336" y="72"/>
                </a:lnTo>
                <a:lnTo>
                  <a:pt x="336" y="66"/>
                </a:lnTo>
                <a:lnTo>
                  <a:pt x="336" y="72"/>
                </a:lnTo>
                <a:lnTo>
                  <a:pt x="336" y="78"/>
                </a:lnTo>
                <a:lnTo>
                  <a:pt x="336" y="84"/>
                </a:lnTo>
                <a:lnTo>
                  <a:pt x="330" y="84"/>
                </a:lnTo>
                <a:lnTo>
                  <a:pt x="330" y="90"/>
                </a:lnTo>
                <a:lnTo>
                  <a:pt x="336" y="90"/>
                </a:lnTo>
                <a:lnTo>
                  <a:pt x="342" y="90"/>
                </a:lnTo>
                <a:lnTo>
                  <a:pt x="342" y="96"/>
                </a:lnTo>
                <a:lnTo>
                  <a:pt x="348" y="96"/>
                </a:lnTo>
                <a:lnTo>
                  <a:pt x="354" y="96"/>
                </a:lnTo>
                <a:lnTo>
                  <a:pt x="354" y="102"/>
                </a:lnTo>
                <a:lnTo>
                  <a:pt x="354" y="108"/>
                </a:lnTo>
                <a:lnTo>
                  <a:pt x="354" y="114"/>
                </a:lnTo>
                <a:lnTo>
                  <a:pt x="354" y="120"/>
                </a:lnTo>
                <a:lnTo>
                  <a:pt x="348" y="120"/>
                </a:lnTo>
                <a:lnTo>
                  <a:pt x="348" y="126"/>
                </a:lnTo>
                <a:lnTo>
                  <a:pt x="342" y="126"/>
                </a:lnTo>
                <a:lnTo>
                  <a:pt x="336" y="126"/>
                </a:lnTo>
                <a:lnTo>
                  <a:pt x="330" y="126"/>
                </a:lnTo>
                <a:lnTo>
                  <a:pt x="324" y="126"/>
                </a:lnTo>
                <a:lnTo>
                  <a:pt x="330" y="132"/>
                </a:lnTo>
                <a:lnTo>
                  <a:pt x="324" y="132"/>
                </a:lnTo>
                <a:lnTo>
                  <a:pt x="324" y="138"/>
                </a:lnTo>
                <a:lnTo>
                  <a:pt x="324" y="144"/>
                </a:lnTo>
                <a:lnTo>
                  <a:pt x="330" y="144"/>
                </a:lnTo>
                <a:lnTo>
                  <a:pt x="324" y="144"/>
                </a:lnTo>
                <a:lnTo>
                  <a:pt x="324" y="150"/>
                </a:lnTo>
                <a:lnTo>
                  <a:pt x="318" y="150"/>
                </a:lnTo>
                <a:lnTo>
                  <a:pt x="318" y="156"/>
                </a:lnTo>
                <a:lnTo>
                  <a:pt x="312" y="156"/>
                </a:lnTo>
                <a:lnTo>
                  <a:pt x="312" y="162"/>
                </a:lnTo>
                <a:lnTo>
                  <a:pt x="306" y="162"/>
                </a:lnTo>
                <a:lnTo>
                  <a:pt x="312" y="162"/>
                </a:lnTo>
                <a:lnTo>
                  <a:pt x="312" y="168"/>
                </a:lnTo>
                <a:lnTo>
                  <a:pt x="306" y="168"/>
                </a:lnTo>
                <a:lnTo>
                  <a:pt x="306" y="174"/>
                </a:lnTo>
                <a:lnTo>
                  <a:pt x="300" y="174"/>
                </a:lnTo>
                <a:lnTo>
                  <a:pt x="300" y="180"/>
                </a:lnTo>
                <a:lnTo>
                  <a:pt x="294" y="180"/>
                </a:lnTo>
                <a:lnTo>
                  <a:pt x="288" y="180"/>
                </a:lnTo>
                <a:lnTo>
                  <a:pt x="288" y="186"/>
                </a:lnTo>
                <a:lnTo>
                  <a:pt x="282" y="186"/>
                </a:lnTo>
                <a:lnTo>
                  <a:pt x="282" y="180"/>
                </a:lnTo>
                <a:lnTo>
                  <a:pt x="288" y="180"/>
                </a:lnTo>
                <a:lnTo>
                  <a:pt x="282" y="180"/>
                </a:lnTo>
                <a:lnTo>
                  <a:pt x="276" y="180"/>
                </a:lnTo>
                <a:lnTo>
                  <a:pt x="282" y="180"/>
                </a:lnTo>
                <a:lnTo>
                  <a:pt x="282" y="174"/>
                </a:lnTo>
                <a:lnTo>
                  <a:pt x="276" y="174"/>
                </a:lnTo>
                <a:lnTo>
                  <a:pt x="270" y="180"/>
                </a:lnTo>
                <a:lnTo>
                  <a:pt x="270" y="186"/>
                </a:lnTo>
                <a:lnTo>
                  <a:pt x="264" y="186"/>
                </a:lnTo>
                <a:lnTo>
                  <a:pt x="264" y="192"/>
                </a:lnTo>
                <a:lnTo>
                  <a:pt x="258" y="192"/>
                </a:lnTo>
                <a:lnTo>
                  <a:pt x="258" y="198"/>
                </a:lnTo>
                <a:lnTo>
                  <a:pt x="258" y="192"/>
                </a:lnTo>
                <a:lnTo>
                  <a:pt x="252" y="192"/>
                </a:lnTo>
                <a:lnTo>
                  <a:pt x="246" y="192"/>
                </a:lnTo>
                <a:lnTo>
                  <a:pt x="240" y="192"/>
                </a:lnTo>
                <a:lnTo>
                  <a:pt x="234" y="192"/>
                </a:lnTo>
                <a:lnTo>
                  <a:pt x="228" y="192"/>
                </a:lnTo>
                <a:lnTo>
                  <a:pt x="228" y="198"/>
                </a:lnTo>
                <a:lnTo>
                  <a:pt x="222" y="198"/>
                </a:lnTo>
                <a:lnTo>
                  <a:pt x="222" y="192"/>
                </a:lnTo>
                <a:lnTo>
                  <a:pt x="216" y="198"/>
                </a:lnTo>
                <a:lnTo>
                  <a:pt x="210" y="198"/>
                </a:lnTo>
                <a:lnTo>
                  <a:pt x="204" y="198"/>
                </a:lnTo>
                <a:lnTo>
                  <a:pt x="204" y="204"/>
                </a:lnTo>
                <a:lnTo>
                  <a:pt x="198" y="204"/>
                </a:lnTo>
                <a:lnTo>
                  <a:pt x="198" y="210"/>
                </a:lnTo>
                <a:lnTo>
                  <a:pt x="192" y="210"/>
                </a:lnTo>
                <a:lnTo>
                  <a:pt x="192" y="204"/>
                </a:lnTo>
                <a:lnTo>
                  <a:pt x="186" y="204"/>
                </a:lnTo>
                <a:lnTo>
                  <a:pt x="186" y="210"/>
                </a:lnTo>
                <a:lnTo>
                  <a:pt x="180" y="210"/>
                </a:lnTo>
                <a:lnTo>
                  <a:pt x="174" y="210"/>
                </a:lnTo>
                <a:lnTo>
                  <a:pt x="168" y="210"/>
                </a:lnTo>
                <a:lnTo>
                  <a:pt x="168" y="204"/>
                </a:lnTo>
                <a:lnTo>
                  <a:pt x="162" y="204"/>
                </a:lnTo>
                <a:lnTo>
                  <a:pt x="156" y="198"/>
                </a:lnTo>
                <a:lnTo>
                  <a:pt x="150" y="198"/>
                </a:lnTo>
                <a:lnTo>
                  <a:pt x="144" y="198"/>
                </a:lnTo>
                <a:lnTo>
                  <a:pt x="138" y="198"/>
                </a:lnTo>
                <a:lnTo>
                  <a:pt x="138" y="204"/>
                </a:lnTo>
                <a:lnTo>
                  <a:pt x="132" y="204"/>
                </a:lnTo>
                <a:lnTo>
                  <a:pt x="126" y="204"/>
                </a:lnTo>
                <a:lnTo>
                  <a:pt x="120" y="204"/>
                </a:lnTo>
                <a:lnTo>
                  <a:pt x="114" y="204"/>
                </a:lnTo>
                <a:lnTo>
                  <a:pt x="120" y="210"/>
                </a:lnTo>
                <a:lnTo>
                  <a:pt x="114" y="216"/>
                </a:lnTo>
                <a:lnTo>
                  <a:pt x="108" y="216"/>
                </a:lnTo>
                <a:lnTo>
                  <a:pt x="108" y="222"/>
                </a:lnTo>
                <a:lnTo>
                  <a:pt x="102" y="222"/>
                </a:lnTo>
                <a:lnTo>
                  <a:pt x="96" y="228"/>
                </a:lnTo>
                <a:lnTo>
                  <a:pt x="96" y="234"/>
                </a:lnTo>
                <a:lnTo>
                  <a:pt x="96" y="240"/>
                </a:lnTo>
                <a:lnTo>
                  <a:pt x="96" y="246"/>
                </a:lnTo>
                <a:lnTo>
                  <a:pt x="90" y="246"/>
                </a:lnTo>
                <a:lnTo>
                  <a:pt x="84" y="246"/>
                </a:lnTo>
                <a:lnTo>
                  <a:pt x="78" y="252"/>
                </a:lnTo>
                <a:lnTo>
                  <a:pt x="72" y="252"/>
                </a:lnTo>
                <a:lnTo>
                  <a:pt x="66" y="252"/>
                </a:lnTo>
                <a:lnTo>
                  <a:pt x="60" y="252"/>
                </a:lnTo>
                <a:lnTo>
                  <a:pt x="60" y="258"/>
                </a:lnTo>
                <a:lnTo>
                  <a:pt x="54" y="258"/>
                </a:lnTo>
                <a:lnTo>
                  <a:pt x="54" y="252"/>
                </a:lnTo>
                <a:lnTo>
                  <a:pt x="48" y="252"/>
                </a:lnTo>
                <a:lnTo>
                  <a:pt x="48" y="258"/>
                </a:lnTo>
                <a:lnTo>
                  <a:pt x="42" y="246"/>
                </a:lnTo>
                <a:lnTo>
                  <a:pt x="24" y="216"/>
                </a:lnTo>
                <a:lnTo>
                  <a:pt x="12" y="222"/>
                </a:lnTo>
                <a:lnTo>
                  <a:pt x="0" y="204"/>
                </a:lnTo>
                <a:lnTo>
                  <a:pt x="6" y="192"/>
                </a:lnTo>
                <a:lnTo>
                  <a:pt x="24" y="180"/>
                </a:lnTo>
                <a:lnTo>
                  <a:pt x="42" y="162"/>
                </a:lnTo>
                <a:lnTo>
                  <a:pt x="66" y="132"/>
                </a:lnTo>
                <a:lnTo>
                  <a:pt x="126" y="90"/>
                </a:lnTo>
                <a:lnTo>
                  <a:pt x="138" y="60"/>
                </a:lnTo>
                <a:lnTo>
                  <a:pt x="156" y="36"/>
                </a:lnTo>
                <a:lnTo>
                  <a:pt x="156" y="12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39" name="Freeform 81" descr="Wide upward diagonal"/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6386373" y="4467215"/>
            <a:ext cx="1415754" cy="1138770"/>
          </a:xfrm>
          <a:custGeom>
            <a:avLst/>
            <a:gdLst>
              <a:gd name="T0" fmla="*/ 2147483647 w 786"/>
              <a:gd name="T1" fmla="*/ 2147483647 h 732"/>
              <a:gd name="T2" fmla="*/ 2147483647 w 786"/>
              <a:gd name="T3" fmla="*/ 2147483647 h 732"/>
              <a:gd name="T4" fmla="*/ 2147483647 w 786"/>
              <a:gd name="T5" fmla="*/ 2147483647 h 732"/>
              <a:gd name="T6" fmla="*/ 2147483647 w 786"/>
              <a:gd name="T7" fmla="*/ 2147483647 h 732"/>
              <a:gd name="T8" fmla="*/ 2147483647 w 786"/>
              <a:gd name="T9" fmla="*/ 2147483647 h 732"/>
              <a:gd name="T10" fmla="*/ 2147483647 w 786"/>
              <a:gd name="T11" fmla="*/ 2147483647 h 732"/>
              <a:gd name="T12" fmla="*/ 2147483647 w 786"/>
              <a:gd name="T13" fmla="*/ 2147483647 h 732"/>
              <a:gd name="T14" fmla="*/ 2147483647 w 786"/>
              <a:gd name="T15" fmla="*/ 0 h 732"/>
              <a:gd name="T16" fmla="*/ 2147483647 w 786"/>
              <a:gd name="T17" fmla="*/ 2147483647 h 732"/>
              <a:gd name="T18" fmla="*/ 2147483647 w 786"/>
              <a:gd name="T19" fmla="*/ 2147483647 h 732"/>
              <a:gd name="T20" fmla="*/ 2147483647 w 786"/>
              <a:gd name="T21" fmla="*/ 2147483647 h 732"/>
              <a:gd name="T22" fmla="*/ 2147483647 w 786"/>
              <a:gd name="T23" fmla="*/ 2147483647 h 732"/>
              <a:gd name="T24" fmla="*/ 2147483647 w 786"/>
              <a:gd name="T25" fmla="*/ 2147483647 h 732"/>
              <a:gd name="T26" fmla="*/ 2147483647 w 786"/>
              <a:gd name="T27" fmla="*/ 2147483647 h 732"/>
              <a:gd name="T28" fmla="*/ 2147483647 w 786"/>
              <a:gd name="T29" fmla="*/ 2147483647 h 732"/>
              <a:gd name="T30" fmla="*/ 2147483647 w 786"/>
              <a:gd name="T31" fmla="*/ 2147483647 h 732"/>
              <a:gd name="T32" fmla="*/ 2147483647 w 786"/>
              <a:gd name="T33" fmla="*/ 2147483647 h 732"/>
              <a:gd name="T34" fmla="*/ 2147483647 w 786"/>
              <a:gd name="T35" fmla="*/ 2147483647 h 732"/>
              <a:gd name="T36" fmla="*/ 2147483647 w 786"/>
              <a:gd name="T37" fmla="*/ 2147483647 h 732"/>
              <a:gd name="T38" fmla="*/ 2147483647 w 786"/>
              <a:gd name="T39" fmla="*/ 2147483647 h 732"/>
              <a:gd name="T40" fmla="*/ 2147483647 w 786"/>
              <a:gd name="T41" fmla="*/ 2147483647 h 732"/>
              <a:gd name="T42" fmla="*/ 2147483647 w 786"/>
              <a:gd name="T43" fmla="*/ 2147483647 h 732"/>
              <a:gd name="T44" fmla="*/ 2147483647 w 786"/>
              <a:gd name="T45" fmla="*/ 2147483647 h 732"/>
              <a:gd name="T46" fmla="*/ 2147483647 w 786"/>
              <a:gd name="T47" fmla="*/ 2147483647 h 732"/>
              <a:gd name="T48" fmla="*/ 2147483647 w 786"/>
              <a:gd name="T49" fmla="*/ 2147483647 h 732"/>
              <a:gd name="T50" fmla="*/ 2147483647 w 786"/>
              <a:gd name="T51" fmla="*/ 2147483647 h 732"/>
              <a:gd name="T52" fmla="*/ 2147483647 w 786"/>
              <a:gd name="T53" fmla="*/ 2147483647 h 732"/>
              <a:gd name="T54" fmla="*/ 2147483647 w 786"/>
              <a:gd name="T55" fmla="*/ 2147483647 h 732"/>
              <a:gd name="T56" fmla="*/ 2147483647 w 786"/>
              <a:gd name="T57" fmla="*/ 2147483647 h 732"/>
              <a:gd name="T58" fmla="*/ 2147483647 w 786"/>
              <a:gd name="T59" fmla="*/ 2147483647 h 732"/>
              <a:gd name="T60" fmla="*/ 2147483647 w 786"/>
              <a:gd name="T61" fmla="*/ 2147483647 h 732"/>
              <a:gd name="T62" fmla="*/ 2147483647 w 786"/>
              <a:gd name="T63" fmla="*/ 2147483647 h 732"/>
              <a:gd name="T64" fmla="*/ 2147483647 w 786"/>
              <a:gd name="T65" fmla="*/ 2147483647 h 732"/>
              <a:gd name="T66" fmla="*/ 2147483647 w 786"/>
              <a:gd name="T67" fmla="*/ 2147483647 h 732"/>
              <a:gd name="T68" fmla="*/ 2147483647 w 786"/>
              <a:gd name="T69" fmla="*/ 2147483647 h 732"/>
              <a:gd name="T70" fmla="*/ 2147483647 w 786"/>
              <a:gd name="T71" fmla="*/ 2147483647 h 732"/>
              <a:gd name="T72" fmla="*/ 2147483647 w 786"/>
              <a:gd name="T73" fmla="*/ 2147483647 h 732"/>
              <a:gd name="T74" fmla="*/ 2147483647 w 786"/>
              <a:gd name="T75" fmla="*/ 2147483647 h 732"/>
              <a:gd name="T76" fmla="*/ 2147483647 w 786"/>
              <a:gd name="T77" fmla="*/ 2147483647 h 732"/>
              <a:gd name="T78" fmla="*/ 2147483647 w 786"/>
              <a:gd name="T79" fmla="*/ 2147483647 h 732"/>
              <a:gd name="T80" fmla="*/ 2147483647 w 786"/>
              <a:gd name="T81" fmla="*/ 2147483647 h 732"/>
              <a:gd name="T82" fmla="*/ 2147483647 w 786"/>
              <a:gd name="T83" fmla="*/ 2147483647 h 732"/>
              <a:gd name="T84" fmla="*/ 2147483647 w 786"/>
              <a:gd name="T85" fmla="*/ 2147483647 h 732"/>
              <a:gd name="T86" fmla="*/ 2147483647 w 786"/>
              <a:gd name="T87" fmla="*/ 2147483647 h 732"/>
              <a:gd name="T88" fmla="*/ 2147483647 w 786"/>
              <a:gd name="T89" fmla="*/ 2147483647 h 732"/>
              <a:gd name="T90" fmla="*/ 2147483647 w 786"/>
              <a:gd name="T91" fmla="*/ 2147483647 h 732"/>
              <a:gd name="T92" fmla="*/ 2147483647 w 786"/>
              <a:gd name="T93" fmla="*/ 2147483647 h 732"/>
              <a:gd name="T94" fmla="*/ 2147483647 w 786"/>
              <a:gd name="T95" fmla="*/ 2147483647 h 732"/>
              <a:gd name="T96" fmla="*/ 2147483647 w 786"/>
              <a:gd name="T97" fmla="*/ 2147483647 h 732"/>
              <a:gd name="T98" fmla="*/ 2147483647 w 786"/>
              <a:gd name="T99" fmla="*/ 2147483647 h 732"/>
              <a:gd name="T100" fmla="*/ 2147483647 w 786"/>
              <a:gd name="T101" fmla="*/ 2147483647 h 73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86" h="732">
                <a:moveTo>
                  <a:pt x="168" y="288"/>
                </a:moveTo>
                <a:lnTo>
                  <a:pt x="162" y="270"/>
                </a:lnTo>
                <a:lnTo>
                  <a:pt x="186" y="252"/>
                </a:lnTo>
                <a:lnTo>
                  <a:pt x="198" y="222"/>
                </a:lnTo>
                <a:lnTo>
                  <a:pt x="240" y="228"/>
                </a:lnTo>
                <a:lnTo>
                  <a:pt x="246" y="198"/>
                </a:lnTo>
                <a:lnTo>
                  <a:pt x="252" y="180"/>
                </a:lnTo>
                <a:lnTo>
                  <a:pt x="264" y="162"/>
                </a:lnTo>
                <a:lnTo>
                  <a:pt x="306" y="168"/>
                </a:lnTo>
                <a:lnTo>
                  <a:pt x="330" y="162"/>
                </a:lnTo>
                <a:lnTo>
                  <a:pt x="336" y="138"/>
                </a:lnTo>
                <a:lnTo>
                  <a:pt x="354" y="132"/>
                </a:lnTo>
                <a:lnTo>
                  <a:pt x="378" y="144"/>
                </a:lnTo>
                <a:lnTo>
                  <a:pt x="384" y="132"/>
                </a:lnTo>
                <a:lnTo>
                  <a:pt x="408" y="132"/>
                </a:lnTo>
                <a:lnTo>
                  <a:pt x="426" y="120"/>
                </a:lnTo>
                <a:lnTo>
                  <a:pt x="462" y="108"/>
                </a:lnTo>
                <a:lnTo>
                  <a:pt x="504" y="102"/>
                </a:lnTo>
                <a:lnTo>
                  <a:pt x="510" y="78"/>
                </a:lnTo>
                <a:lnTo>
                  <a:pt x="552" y="54"/>
                </a:lnTo>
                <a:lnTo>
                  <a:pt x="612" y="30"/>
                </a:lnTo>
                <a:lnTo>
                  <a:pt x="678" y="6"/>
                </a:lnTo>
                <a:lnTo>
                  <a:pt x="714" y="0"/>
                </a:lnTo>
                <a:lnTo>
                  <a:pt x="738" y="0"/>
                </a:lnTo>
                <a:lnTo>
                  <a:pt x="738" y="6"/>
                </a:lnTo>
                <a:lnTo>
                  <a:pt x="738" y="12"/>
                </a:lnTo>
                <a:lnTo>
                  <a:pt x="744" y="12"/>
                </a:lnTo>
                <a:lnTo>
                  <a:pt x="744" y="18"/>
                </a:lnTo>
                <a:lnTo>
                  <a:pt x="750" y="18"/>
                </a:lnTo>
                <a:lnTo>
                  <a:pt x="756" y="18"/>
                </a:lnTo>
                <a:lnTo>
                  <a:pt x="756" y="24"/>
                </a:lnTo>
                <a:lnTo>
                  <a:pt x="762" y="24"/>
                </a:lnTo>
                <a:lnTo>
                  <a:pt x="762" y="30"/>
                </a:lnTo>
                <a:lnTo>
                  <a:pt x="768" y="30"/>
                </a:lnTo>
                <a:lnTo>
                  <a:pt x="768" y="36"/>
                </a:lnTo>
                <a:lnTo>
                  <a:pt x="768" y="42"/>
                </a:lnTo>
                <a:lnTo>
                  <a:pt x="774" y="42"/>
                </a:lnTo>
                <a:lnTo>
                  <a:pt x="774" y="48"/>
                </a:lnTo>
                <a:lnTo>
                  <a:pt x="780" y="54"/>
                </a:lnTo>
                <a:lnTo>
                  <a:pt x="780" y="60"/>
                </a:lnTo>
                <a:lnTo>
                  <a:pt x="780" y="66"/>
                </a:lnTo>
                <a:lnTo>
                  <a:pt x="780" y="72"/>
                </a:lnTo>
                <a:lnTo>
                  <a:pt x="780" y="78"/>
                </a:lnTo>
                <a:lnTo>
                  <a:pt x="780" y="84"/>
                </a:lnTo>
                <a:lnTo>
                  <a:pt x="780" y="90"/>
                </a:lnTo>
                <a:lnTo>
                  <a:pt x="786" y="90"/>
                </a:lnTo>
                <a:lnTo>
                  <a:pt x="780" y="96"/>
                </a:lnTo>
                <a:lnTo>
                  <a:pt x="768" y="102"/>
                </a:lnTo>
                <a:lnTo>
                  <a:pt x="762" y="108"/>
                </a:lnTo>
                <a:lnTo>
                  <a:pt x="756" y="114"/>
                </a:lnTo>
                <a:lnTo>
                  <a:pt x="750" y="114"/>
                </a:lnTo>
                <a:lnTo>
                  <a:pt x="744" y="120"/>
                </a:lnTo>
                <a:lnTo>
                  <a:pt x="738" y="126"/>
                </a:lnTo>
                <a:lnTo>
                  <a:pt x="708" y="144"/>
                </a:lnTo>
                <a:lnTo>
                  <a:pt x="702" y="156"/>
                </a:lnTo>
                <a:lnTo>
                  <a:pt x="696" y="156"/>
                </a:lnTo>
                <a:lnTo>
                  <a:pt x="690" y="156"/>
                </a:lnTo>
                <a:lnTo>
                  <a:pt x="678" y="162"/>
                </a:lnTo>
                <a:lnTo>
                  <a:pt x="666" y="162"/>
                </a:lnTo>
                <a:lnTo>
                  <a:pt x="660" y="162"/>
                </a:lnTo>
                <a:lnTo>
                  <a:pt x="654" y="168"/>
                </a:lnTo>
                <a:lnTo>
                  <a:pt x="636" y="168"/>
                </a:lnTo>
                <a:lnTo>
                  <a:pt x="630" y="168"/>
                </a:lnTo>
                <a:lnTo>
                  <a:pt x="624" y="174"/>
                </a:lnTo>
                <a:lnTo>
                  <a:pt x="618" y="174"/>
                </a:lnTo>
                <a:lnTo>
                  <a:pt x="612" y="174"/>
                </a:lnTo>
                <a:lnTo>
                  <a:pt x="600" y="180"/>
                </a:lnTo>
                <a:lnTo>
                  <a:pt x="594" y="180"/>
                </a:lnTo>
                <a:lnTo>
                  <a:pt x="588" y="186"/>
                </a:lnTo>
                <a:lnTo>
                  <a:pt x="582" y="186"/>
                </a:lnTo>
                <a:lnTo>
                  <a:pt x="576" y="186"/>
                </a:lnTo>
                <a:lnTo>
                  <a:pt x="564" y="192"/>
                </a:lnTo>
                <a:lnTo>
                  <a:pt x="540" y="204"/>
                </a:lnTo>
                <a:lnTo>
                  <a:pt x="522" y="210"/>
                </a:lnTo>
                <a:lnTo>
                  <a:pt x="510" y="210"/>
                </a:lnTo>
                <a:lnTo>
                  <a:pt x="504" y="222"/>
                </a:lnTo>
                <a:lnTo>
                  <a:pt x="504" y="228"/>
                </a:lnTo>
                <a:lnTo>
                  <a:pt x="486" y="282"/>
                </a:lnTo>
                <a:lnTo>
                  <a:pt x="474" y="312"/>
                </a:lnTo>
                <a:lnTo>
                  <a:pt x="474" y="318"/>
                </a:lnTo>
                <a:lnTo>
                  <a:pt x="468" y="330"/>
                </a:lnTo>
                <a:lnTo>
                  <a:pt x="462" y="342"/>
                </a:lnTo>
                <a:lnTo>
                  <a:pt x="462" y="354"/>
                </a:lnTo>
                <a:lnTo>
                  <a:pt x="456" y="372"/>
                </a:lnTo>
                <a:lnTo>
                  <a:pt x="450" y="378"/>
                </a:lnTo>
                <a:lnTo>
                  <a:pt x="444" y="390"/>
                </a:lnTo>
                <a:lnTo>
                  <a:pt x="444" y="396"/>
                </a:lnTo>
                <a:lnTo>
                  <a:pt x="420" y="432"/>
                </a:lnTo>
                <a:lnTo>
                  <a:pt x="414" y="450"/>
                </a:lnTo>
                <a:lnTo>
                  <a:pt x="402" y="462"/>
                </a:lnTo>
                <a:lnTo>
                  <a:pt x="390" y="480"/>
                </a:lnTo>
                <a:lnTo>
                  <a:pt x="384" y="492"/>
                </a:lnTo>
                <a:lnTo>
                  <a:pt x="384" y="498"/>
                </a:lnTo>
                <a:lnTo>
                  <a:pt x="378" y="498"/>
                </a:lnTo>
                <a:lnTo>
                  <a:pt x="378" y="504"/>
                </a:lnTo>
                <a:lnTo>
                  <a:pt x="366" y="522"/>
                </a:lnTo>
                <a:lnTo>
                  <a:pt x="366" y="528"/>
                </a:lnTo>
                <a:lnTo>
                  <a:pt x="360" y="528"/>
                </a:lnTo>
                <a:lnTo>
                  <a:pt x="360" y="534"/>
                </a:lnTo>
                <a:lnTo>
                  <a:pt x="354" y="540"/>
                </a:lnTo>
                <a:lnTo>
                  <a:pt x="354" y="546"/>
                </a:lnTo>
                <a:lnTo>
                  <a:pt x="348" y="552"/>
                </a:lnTo>
                <a:lnTo>
                  <a:pt x="342" y="558"/>
                </a:lnTo>
                <a:lnTo>
                  <a:pt x="330" y="570"/>
                </a:lnTo>
                <a:lnTo>
                  <a:pt x="324" y="576"/>
                </a:lnTo>
                <a:lnTo>
                  <a:pt x="318" y="582"/>
                </a:lnTo>
                <a:lnTo>
                  <a:pt x="312" y="588"/>
                </a:lnTo>
                <a:lnTo>
                  <a:pt x="306" y="588"/>
                </a:lnTo>
                <a:lnTo>
                  <a:pt x="306" y="594"/>
                </a:lnTo>
                <a:lnTo>
                  <a:pt x="306" y="600"/>
                </a:lnTo>
                <a:lnTo>
                  <a:pt x="294" y="618"/>
                </a:lnTo>
                <a:lnTo>
                  <a:pt x="288" y="630"/>
                </a:lnTo>
                <a:lnTo>
                  <a:pt x="282" y="636"/>
                </a:lnTo>
                <a:lnTo>
                  <a:pt x="282" y="648"/>
                </a:lnTo>
                <a:lnTo>
                  <a:pt x="276" y="648"/>
                </a:lnTo>
                <a:lnTo>
                  <a:pt x="276" y="654"/>
                </a:lnTo>
                <a:lnTo>
                  <a:pt x="270" y="654"/>
                </a:lnTo>
                <a:lnTo>
                  <a:pt x="228" y="672"/>
                </a:lnTo>
                <a:lnTo>
                  <a:pt x="192" y="684"/>
                </a:lnTo>
                <a:lnTo>
                  <a:pt x="180" y="690"/>
                </a:lnTo>
                <a:lnTo>
                  <a:pt x="174" y="690"/>
                </a:lnTo>
                <a:lnTo>
                  <a:pt x="168" y="690"/>
                </a:lnTo>
                <a:lnTo>
                  <a:pt x="162" y="696"/>
                </a:lnTo>
                <a:lnTo>
                  <a:pt x="156" y="702"/>
                </a:lnTo>
                <a:lnTo>
                  <a:pt x="150" y="702"/>
                </a:lnTo>
                <a:lnTo>
                  <a:pt x="138" y="708"/>
                </a:lnTo>
                <a:lnTo>
                  <a:pt x="114" y="726"/>
                </a:lnTo>
                <a:lnTo>
                  <a:pt x="90" y="732"/>
                </a:lnTo>
                <a:lnTo>
                  <a:pt x="72" y="690"/>
                </a:lnTo>
                <a:lnTo>
                  <a:pt x="72" y="636"/>
                </a:lnTo>
                <a:lnTo>
                  <a:pt x="48" y="588"/>
                </a:lnTo>
                <a:lnTo>
                  <a:pt x="24" y="582"/>
                </a:lnTo>
                <a:lnTo>
                  <a:pt x="6" y="600"/>
                </a:lnTo>
                <a:lnTo>
                  <a:pt x="0" y="546"/>
                </a:lnTo>
                <a:lnTo>
                  <a:pt x="30" y="522"/>
                </a:lnTo>
                <a:lnTo>
                  <a:pt x="60" y="534"/>
                </a:lnTo>
                <a:lnTo>
                  <a:pt x="96" y="540"/>
                </a:lnTo>
                <a:lnTo>
                  <a:pt x="126" y="522"/>
                </a:lnTo>
                <a:lnTo>
                  <a:pt x="156" y="510"/>
                </a:lnTo>
                <a:lnTo>
                  <a:pt x="186" y="522"/>
                </a:lnTo>
                <a:lnTo>
                  <a:pt x="234" y="534"/>
                </a:lnTo>
                <a:lnTo>
                  <a:pt x="234" y="522"/>
                </a:lnTo>
                <a:lnTo>
                  <a:pt x="210" y="516"/>
                </a:lnTo>
                <a:lnTo>
                  <a:pt x="216" y="504"/>
                </a:lnTo>
                <a:lnTo>
                  <a:pt x="240" y="492"/>
                </a:lnTo>
                <a:lnTo>
                  <a:pt x="216" y="486"/>
                </a:lnTo>
                <a:lnTo>
                  <a:pt x="204" y="480"/>
                </a:lnTo>
                <a:lnTo>
                  <a:pt x="204" y="432"/>
                </a:lnTo>
                <a:lnTo>
                  <a:pt x="240" y="402"/>
                </a:lnTo>
                <a:lnTo>
                  <a:pt x="258" y="372"/>
                </a:lnTo>
                <a:lnTo>
                  <a:pt x="228" y="354"/>
                </a:lnTo>
                <a:lnTo>
                  <a:pt x="198" y="318"/>
                </a:lnTo>
                <a:lnTo>
                  <a:pt x="168" y="288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40" name="Freeform 82" descr="Light downward diagonal"/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5562962" y="2374885"/>
            <a:ext cx="693206" cy="707835"/>
          </a:xfrm>
          <a:custGeom>
            <a:avLst/>
            <a:gdLst>
              <a:gd name="T0" fmla="*/ 2147483647 w 384"/>
              <a:gd name="T1" fmla="*/ 2147483647 h 456"/>
              <a:gd name="T2" fmla="*/ 2147483647 w 384"/>
              <a:gd name="T3" fmla="*/ 2147483647 h 456"/>
              <a:gd name="T4" fmla="*/ 2147483647 w 384"/>
              <a:gd name="T5" fmla="*/ 2147483647 h 456"/>
              <a:gd name="T6" fmla="*/ 0 w 384"/>
              <a:gd name="T7" fmla="*/ 2147483647 h 456"/>
              <a:gd name="T8" fmla="*/ 0 w 384"/>
              <a:gd name="T9" fmla="*/ 2147483647 h 456"/>
              <a:gd name="T10" fmla="*/ 2147483647 w 384"/>
              <a:gd name="T11" fmla="*/ 2147483647 h 456"/>
              <a:gd name="T12" fmla="*/ 2147483647 w 384"/>
              <a:gd name="T13" fmla="*/ 2147483647 h 456"/>
              <a:gd name="T14" fmla="*/ 2147483647 w 384"/>
              <a:gd name="T15" fmla="*/ 2147483647 h 456"/>
              <a:gd name="T16" fmla="*/ 2147483647 w 384"/>
              <a:gd name="T17" fmla="*/ 2147483647 h 456"/>
              <a:gd name="T18" fmla="*/ 2147483647 w 384"/>
              <a:gd name="T19" fmla="*/ 2147483647 h 456"/>
              <a:gd name="T20" fmla="*/ 2147483647 w 384"/>
              <a:gd name="T21" fmla="*/ 2147483647 h 456"/>
              <a:gd name="T22" fmla="*/ 2147483647 w 384"/>
              <a:gd name="T23" fmla="*/ 2147483647 h 456"/>
              <a:gd name="T24" fmla="*/ 2147483647 w 384"/>
              <a:gd name="T25" fmla="*/ 2147483647 h 456"/>
              <a:gd name="T26" fmla="*/ 2147483647 w 384"/>
              <a:gd name="T27" fmla="*/ 0 h 456"/>
              <a:gd name="T28" fmla="*/ 2147483647 w 384"/>
              <a:gd name="T29" fmla="*/ 2147483647 h 456"/>
              <a:gd name="T30" fmla="*/ 2147483647 w 384"/>
              <a:gd name="T31" fmla="*/ 2147483647 h 456"/>
              <a:gd name="T32" fmla="*/ 2147483647 w 384"/>
              <a:gd name="T33" fmla="*/ 2147483647 h 456"/>
              <a:gd name="T34" fmla="*/ 2147483647 w 384"/>
              <a:gd name="T35" fmla="*/ 2147483647 h 456"/>
              <a:gd name="T36" fmla="*/ 2147483647 w 384"/>
              <a:gd name="T37" fmla="*/ 2147483647 h 456"/>
              <a:gd name="T38" fmla="*/ 2147483647 w 384"/>
              <a:gd name="T39" fmla="*/ 2147483647 h 456"/>
              <a:gd name="T40" fmla="*/ 2147483647 w 384"/>
              <a:gd name="T41" fmla="*/ 2147483647 h 456"/>
              <a:gd name="T42" fmla="*/ 2147483647 w 384"/>
              <a:gd name="T43" fmla="*/ 2147483647 h 456"/>
              <a:gd name="T44" fmla="*/ 2147483647 w 384"/>
              <a:gd name="T45" fmla="*/ 2147483647 h 456"/>
              <a:gd name="T46" fmla="*/ 2147483647 w 384"/>
              <a:gd name="T47" fmla="*/ 2147483647 h 456"/>
              <a:gd name="T48" fmla="*/ 2147483647 w 384"/>
              <a:gd name="T49" fmla="*/ 2147483647 h 456"/>
              <a:gd name="T50" fmla="*/ 2147483647 w 384"/>
              <a:gd name="T51" fmla="*/ 2147483647 h 456"/>
              <a:gd name="T52" fmla="*/ 2147483647 w 384"/>
              <a:gd name="T53" fmla="*/ 2147483647 h 456"/>
              <a:gd name="T54" fmla="*/ 2147483647 w 384"/>
              <a:gd name="T55" fmla="*/ 2147483647 h 456"/>
              <a:gd name="T56" fmla="*/ 2147483647 w 384"/>
              <a:gd name="T57" fmla="*/ 2147483647 h 456"/>
              <a:gd name="T58" fmla="*/ 2147483647 w 384"/>
              <a:gd name="T59" fmla="*/ 2147483647 h 456"/>
              <a:gd name="T60" fmla="*/ 2147483647 w 384"/>
              <a:gd name="T61" fmla="*/ 2147483647 h 456"/>
              <a:gd name="T62" fmla="*/ 2147483647 w 384"/>
              <a:gd name="T63" fmla="*/ 2147483647 h 456"/>
              <a:gd name="T64" fmla="*/ 2147483647 w 384"/>
              <a:gd name="T65" fmla="*/ 2147483647 h 456"/>
              <a:gd name="T66" fmla="*/ 2147483647 w 384"/>
              <a:gd name="T67" fmla="*/ 2147483647 h 456"/>
              <a:gd name="T68" fmla="*/ 2147483647 w 384"/>
              <a:gd name="T69" fmla="*/ 2147483647 h 456"/>
              <a:gd name="T70" fmla="*/ 2147483647 w 384"/>
              <a:gd name="T71" fmla="*/ 2147483647 h 456"/>
              <a:gd name="T72" fmla="*/ 2147483647 w 384"/>
              <a:gd name="T73" fmla="*/ 2147483647 h 456"/>
              <a:gd name="T74" fmla="*/ 2147483647 w 384"/>
              <a:gd name="T75" fmla="*/ 2147483647 h 456"/>
              <a:gd name="T76" fmla="*/ 2147483647 w 384"/>
              <a:gd name="T77" fmla="*/ 2147483647 h 456"/>
              <a:gd name="T78" fmla="*/ 2147483647 w 384"/>
              <a:gd name="T79" fmla="*/ 2147483647 h 456"/>
              <a:gd name="T80" fmla="*/ 2147483647 w 384"/>
              <a:gd name="T81" fmla="*/ 2147483647 h 456"/>
              <a:gd name="T82" fmla="*/ 2147483647 w 384"/>
              <a:gd name="T83" fmla="*/ 2147483647 h 456"/>
              <a:gd name="T84" fmla="*/ 2147483647 w 384"/>
              <a:gd name="T85" fmla="*/ 2147483647 h 456"/>
              <a:gd name="T86" fmla="*/ 2147483647 w 384"/>
              <a:gd name="T87" fmla="*/ 2147483647 h 456"/>
              <a:gd name="T88" fmla="*/ 2147483647 w 384"/>
              <a:gd name="T89" fmla="*/ 2147483647 h 456"/>
              <a:gd name="T90" fmla="*/ 2147483647 w 384"/>
              <a:gd name="T91" fmla="*/ 2147483647 h 45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84" h="456">
                <a:moveTo>
                  <a:pt x="54" y="336"/>
                </a:moveTo>
                <a:lnTo>
                  <a:pt x="48" y="294"/>
                </a:lnTo>
                <a:lnTo>
                  <a:pt x="12" y="288"/>
                </a:lnTo>
                <a:lnTo>
                  <a:pt x="0" y="246"/>
                </a:lnTo>
                <a:lnTo>
                  <a:pt x="0" y="192"/>
                </a:lnTo>
                <a:lnTo>
                  <a:pt x="6" y="174"/>
                </a:lnTo>
                <a:lnTo>
                  <a:pt x="18" y="138"/>
                </a:lnTo>
                <a:lnTo>
                  <a:pt x="42" y="108"/>
                </a:lnTo>
                <a:lnTo>
                  <a:pt x="102" y="102"/>
                </a:lnTo>
                <a:lnTo>
                  <a:pt x="132" y="102"/>
                </a:lnTo>
                <a:lnTo>
                  <a:pt x="162" y="90"/>
                </a:lnTo>
                <a:lnTo>
                  <a:pt x="150" y="66"/>
                </a:lnTo>
                <a:lnTo>
                  <a:pt x="156" y="18"/>
                </a:lnTo>
                <a:lnTo>
                  <a:pt x="180" y="0"/>
                </a:lnTo>
                <a:lnTo>
                  <a:pt x="222" y="6"/>
                </a:lnTo>
                <a:lnTo>
                  <a:pt x="246" y="48"/>
                </a:lnTo>
                <a:lnTo>
                  <a:pt x="276" y="78"/>
                </a:lnTo>
                <a:lnTo>
                  <a:pt x="306" y="96"/>
                </a:lnTo>
                <a:lnTo>
                  <a:pt x="324" y="102"/>
                </a:lnTo>
                <a:lnTo>
                  <a:pt x="336" y="102"/>
                </a:lnTo>
                <a:lnTo>
                  <a:pt x="354" y="132"/>
                </a:lnTo>
                <a:lnTo>
                  <a:pt x="360" y="156"/>
                </a:lnTo>
                <a:lnTo>
                  <a:pt x="384" y="174"/>
                </a:lnTo>
                <a:lnTo>
                  <a:pt x="372" y="198"/>
                </a:lnTo>
                <a:lnTo>
                  <a:pt x="348" y="228"/>
                </a:lnTo>
                <a:lnTo>
                  <a:pt x="360" y="252"/>
                </a:lnTo>
                <a:lnTo>
                  <a:pt x="360" y="276"/>
                </a:lnTo>
                <a:lnTo>
                  <a:pt x="378" y="300"/>
                </a:lnTo>
                <a:lnTo>
                  <a:pt x="348" y="324"/>
                </a:lnTo>
                <a:lnTo>
                  <a:pt x="330" y="324"/>
                </a:lnTo>
                <a:lnTo>
                  <a:pt x="294" y="360"/>
                </a:lnTo>
                <a:lnTo>
                  <a:pt x="306" y="378"/>
                </a:lnTo>
                <a:lnTo>
                  <a:pt x="282" y="420"/>
                </a:lnTo>
                <a:lnTo>
                  <a:pt x="258" y="450"/>
                </a:lnTo>
                <a:lnTo>
                  <a:pt x="222" y="456"/>
                </a:lnTo>
                <a:lnTo>
                  <a:pt x="192" y="450"/>
                </a:lnTo>
                <a:lnTo>
                  <a:pt x="162" y="444"/>
                </a:lnTo>
                <a:lnTo>
                  <a:pt x="132" y="456"/>
                </a:lnTo>
                <a:lnTo>
                  <a:pt x="90" y="444"/>
                </a:lnTo>
                <a:lnTo>
                  <a:pt x="66" y="456"/>
                </a:lnTo>
                <a:lnTo>
                  <a:pt x="42" y="444"/>
                </a:lnTo>
                <a:lnTo>
                  <a:pt x="54" y="408"/>
                </a:lnTo>
                <a:lnTo>
                  <a:pt x="96" y="372"/>
                </a:lnTo>
                <a:lnTo>
                  <a:pt x="90" y="330"/>
                </a:lnTo>
                <a:lnTo>
                  <a:pt x="66" y="348"/>
                </a:lnTo>
                <a:lnTo>
                  <a:pt x="54" y="336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41" name="Freeform 83" descr="Light downward diagonal"/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7327152" y="3354116"/>
            <a:ext cx="614350" cy="590474"/>
          </a:xfrm>
          <a:custGeom>
            <a:avLst/>
            <a:gdLst>
              <a:gd name="T0" fmla="*/ 2147483647 w 385"/>
              <a:gd name="T1" fmla="*/ 0 h 429"/>
              <a:gd name="T2" fmla="*/ 2147483647 w 385"/>
              <a:gd name="T3" fmla="*/ 2147483647 h 429"/>
              <a:gd name="T4" fmla="*/ 2147483647 w 385"/>
              <a:gd name="T5" fmla="*/ 2147483647 h 429"/>
              <a:gd name="T6" fmla="*/ 2147483647 w 385"/>
              <a:gd name="T7" fmla="*/ 2147483647 h 429"/>
              <a:gd name="T8" fmla="*/ 2147483647 w 385"/>
              <a:gd name="T9" fmla="*/ 2147483647 h 429"/>
              <a:gd name="T10" fmla="*/ 2147483647 w 385"/>
              <a:gd name="T11" fmla="*/ 2147483647 h 429"/>
              <a:gd name="T12" fmla="*/ 2147483647 w 385"/>
              <a:gd name="T13" fmla="*/ 2147483647 h 429"/>
              <a:gd name="T14" fmla="*/ 2147483647 w 385"/>
              <a:gd name="T15" fmla="*/ 2147483647 h 429"/>
              <a:gd name="T16" fmla="*/ 2147483647 w 385"/>
              <a:gd name="T17" fmla="*/ 2147483647 h 429"/>
              <a:gd name="T18" fmla="*/ 2147483647 w 385"/>
              <a:gd name="T19" fmla="*/ 2147483647 h 429"/>
              <a:gd name="T20" fmla="*/ 2147483647 w 385"/>
              <a:gd name="T21" fmla="*/ 2147483647 h 429"/>
              <a:gd name="T22" fmla="*/ 2147483647 w 385"/>
              <a:gd name="T23" fmla="*/ 2147483647 h 429"/>
              <a:gd name="T24" fmla="*/ 2147483647 w 385"/>
              <a:gd name="T25" fmla="*/ 2147483647 h 429"/>
              <a:gd name="T26" fmla="*/ 2147483647 w 385"/>
              <a:gd name="T27" fmla="*/ 2147483647 h 429"/>
              <a:gd name="T28" fmla="*/ 2147483647 w 385"/>
              <a:gd name="T29" fmla="*/ 2147483647 h 429"/>
              <a:gd name="T30" fmla="*/ 2147483647 w 385"/>
              <a:gd name="T31" fmla="*/ 2147483647 h 429"/>
              <a:gd name="T32" fmla="*/ 2147483647 w 385"/>
              <a:gd name="T33" fmla="*/ 2147483647 h 429"/>
              <a:gd name="T34" fmla="*/ 2147483647 w 385"/>
              <a:gd name="T35" fmla="*/ 2147483647 h 429"/>
              <a:gd name="T36" fmla="*/ 2147483647 w 385"/>
              <a:gd name="T37" fmla="*/ 2147483647 h 429"/>
              <a:gd name="T38" fmla="*/ 2147483647 w 385"/>
              <a:gd name="T39" fmla="*/ 2147483647 h 429"/>
              <a:gd name="T40" fmla="*/ 2147483647 w 385"/>
              <a:gd name="T41" fmla="*/ 2147483647 h 429"/>
              <a:gd name="T42" fmla="*/ 2147483647 w 385"/>
              <a:gd name="T43" fmla="*/ 2147483647 h 429"/>
              <a:gd name="T44" fmla="*/ 2147483647 w 385"/>
              <a:gd name="T45" fmla="*/ 2147483647 h 429"/>
              <a:gd name="T46" fmla="*/ 2147483647 w 385"/>
              <a:gd name="T47" fmla="*/ 2147483647 h 429"/>
              <a:gd name="T48" fmla="*/ 2147483647 w 385"/>
              <a:gd name="T49" fmla="*/ 2147483647 h 429"/>
              <a:gd name="T50" fmla="*/ 2147483647 w 385"/>
              <a:gd name="T51" fmla="*/ 2147483647 h 429"/>
              <a:gd name="T52" fmla="*/ 2147483647 w 385"/>
              <a:gd name="T53" fmla="*/ 2147483647 h 429"/>
              <a:gd name="T54" fmla="*/ 2147483647 w 385"/>
              <a:gd name="T55" fmla="*/ 2147483647 h 429"/>
              <a:gd name="T56" fmla="*/ 2147483647 w 385"/>
              <a:gd name="T57" fmla="*/ 2147483647 h 429"/>
              <a:gd name="T58" fmla="*/ 2147483647 w 385"/>
              <a:gd name="T59" fmla="*/ 2147483647 h 429"/>
              <a:gd name="T60" fmla="*/ 2147483647 w 385"/>
              <a:gd name="T61" fmla="*/ 2147483647 h 429"/>
              <a:gd name="T62" fmla="*/ 2147483647 w 385"/>
              <a:gd name="T63" fmla="*/ 2147483647 h 429"/>
              <a:gd name="T64" fmla="*/ 2147483647 w 385"/>
              <a:gd name="T65" fmla="*/ 2147483647 h 429"/>
              <a:gd name="T66" fmla="*/ 2147483647 w 385"/>
              <a:gd name="T67" fmla="*/ 2147483647 h 429"/>
              <a:gd name="T68" fmla="*/ 2147483647 w 385"/>
              <a:gd name="T69" fmla="*/ 2147483647 h 429"/>
              <a:gd name="T70" fmla="*/ 2147483647 w 385"/>
              <a:gd name="T71" fmla="*/ 2147483647 h 429"/>
              <a:gd name="T72" fmla="*/ 2147483647 w 385"/>
              <a:gd name="T73" fmla="*/ 2147483647 h 429"/>
              <a:gd name="T74" fmla="*/ 2147483647 w 385"/>
              <a:gd name="T75" fmla="*/ 2147483647 h 429"/>
              <a:gd name="T76" fmla="*/ 2147483647 w 385"/>
              <a:gd name="T77" fmla="*/ 2147483647 h 429"/>
              <a:gd name="T78" fmla="*/ 2147483647 w 385"/>
              <a:gd name="T79" fmla="*/ 2147483647 h 429"/>
              <a:gd name="T80" fmla="*/ 2147483647 w 385"/>
              <a:gd name="T81" fmla="*/ 2147483647 h 429"/>
              <a:gd name="T82" fmla="*/ 0 w 385"/>
              <a:gd name="T83" fmla="*/ 2147483647 h 429"/>
              <a:gd name="T84" fmla="*/ 2147483647 w 385"/>
              <a:gd name="T85" fmla="*/ 2147483647 h 429"/>
              <a:gd name="T86" fmla="*/ 2147483647 w 385"/>
              <a:gd name="T87" fmla="*/ 2147483647 h 429"/>
              <a:gd name="T88" fmla="*/ 2147483647 w 385"/>
              <a:gd name="T89" fmla="*/ 2147483647 h 429"/>
              <a:gd name="T90" fmla="*/ 2147483647 w 385"/>
              <a:gd name="T91" fmla="*/ 2147483647 h 429"/>
              <a:gd name="T92" fmla="*/ 2147483647 w 385"/>
              <a:gd name="T93" fmla="*/ 2147483647 h 429"/>
              <a:gd name="T94" fmla="*/ 2147483647 w 385"/>
              <a:gd name="T95" fmla="*/ 2147483647 h 429"/>
              <a:gd name="T96" fmla="*/ 2147483647 w 385"/>
              <a:gd name="T97" fmla="*/ 0 h 42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85" h="429">
                <a:moveTo>
                  <a:pt x="223" y="0"/>
                </a:moveTo>
                <a:lnTo>
                  <a:pt x="211" y="45"/>
                </a:lnTo>
                <a:lnTo>
                  <a:pt x="229" y="72"/>
                </a:lnTo>
                <a:lnTo>
                  <a:pt x="223" y="93"/>
                </a:lnTo>
                <a:lnTo>
                  <a:pt x="220" y="120"/>
                </a:lnTo>
                <a:lnTo>
                  <a:pt x="246" y="117"/>
                </a:lnTo>
                <a:lnTo>
                  <a:pt x="270" y="138"/>
                </a:lnTo>
                <a:lnTo>
                  <a:pt x="295" y="156"/>
                </a:lnTo>
                <a:lnTo>
                  <a:pt x="313" y="168"/>
                </a:lnTo>
                <a:lnTo>
                  <a:pt x="342" y="188"/>
                </a:lnTo>
                <a:lnTo>
                  <a:pt x="322" y="213"/>
                </a:lnTo>
                <a:lnTo>
                  <a:pt x="351" y="213"/>
                </a:lnTo>
                <a:lnTo>
                  <a:pt x="385" y="261"/>
                </a:lnTo>
                <a:lnTo>
                  <a:pt x="354" y="303"/>
                </a:lnTo>
                <a:lnTo>
                  <a:pt x="316" y="321"/>
                </a:lnTo>
                <a:lnTo>
                  <a:pt x="261" y="341"/>
                </a:lnTo>
                <a:lnTo>
                  <a:pt x="222" y="347"/>
                </a:lnTo>
                <a:lnTo>
                  <a:pt x="192" y="377"/>
                </a:lnTo>
                <a:lnTo>
                  <a:pt x="159" y="380"/>
                </a:lnTo>
                <a:lnTo>
                  <a:pt x="130" y="402"/>
                </a:lnTo>
                <a:lnTo>
                  <a:pt x="60" y="416"/>
                </a:lnTo>
                <a:lnTo>
                  <a:pt x="25" y="426"/>
                </a:lnTo>
                <a:lnTo>
                  <a:pt x="12" y="429"/>
                </a:lnTo>
                <a:lnTo>
                  <a:pt x="19" y="416"/>
                </a:lnTo>
                <a:lnTo>
                  <a:pt x="34" y="401"/>
                </a:lnTo>
                <a:lnTo>
                  <a:pt x="54" y="377"/>
                </a:lnTo>
                <a:lnTo>
                  <a:pt x="91" y="375"/>
                </a:lnTo>
                <a:lnTo>
                  <a:pt x="178" y="317"/>
                </a:lnTo>
                <a:lnTo>
                  <a:pt x="199" y="279"/>
                </a:lnTo>
                <a:lnTo>
                  <a:pt x="208" y="260"/>
                </a:lnTo>
                <a:lnTo>
                  <a:pt x="202" y="237"/>
                </a:lnTo>
                <a:lnTo>
                  <a:pt x="201" y="219"/>
                </a:lnTo>
                <a:lnTo>
                  <a:pt x="175" y="224"/>
                </a:lnTo>
                <a:lnTo>
                  <a:pt x="109" y="243"/>
                </a:lnTo>
                <a:lnTo>
                  <a:pt x="91" y="228"/>
                </a:lnTo>
                <a:lnTo>
                  <a:pt x="88" y="207"/>
                </a:lnTo>
                <a:lnTo>
                  <a:pt x="88" y="171"/>
                </a:lnTo>
                <a:lnTo>
                  <a:pt x="67" y="144"/>
                </a:lnTo>
                <a:lnTo>
                  <a:pt x="72" y="119"/>
                </a:lnTo>
                <a:lnTo>
                  <a:pt x="39" y="113"/>
                </a:lnTo>
                <a:lnTo>
                  <a:pt x="12" y="74"/>
                </a:lnTo>
                <a:lnTo>
                  <a:pt x="0" y="57"/>
                </a:lnTo>
                <a:lnTo>
                  <a:pt x="57" y="51"/>
                </a:lnTo>
                <a:lnTo>
                  <a:pt x="91" y="51"/>
                </a:lnTo>
                <a:lnTo>
                  <a:pt x="153" y="59"/>
                </a:lnTo>
                <a:lnTo>
                  <a:pt x="160" y="42"/>
                </a:lnTo>
                <a:lnTo>
                  <a:pt x="175" y="21"/>
                </a:lnTo>
                <a:lnTo>
                  <a:pt x="187" y="8"/>
                </a:lnTo>
                <a:lnTo>
                  <a:pt x="223" y="0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42" name="Freeform 84"/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8157899" y="2644450"/>
            <a:ext cx="540993" cy="588639"/>
          </a:xfrm>
          <a:custGeom>
            <a:avLst/>
            <a:gdLst>
              <a:gd name="T0" fmla="*/ 2147483647 w 300"/>
              <a:gd name="T1" fmla="*/ 2147483647 h 378"/>
              <a:gd name="T2" fmla="*/ 2147483647 w 300"/>
              <a:gd name="T3" fmla="*/ 2147483647 h 378"/>
              <a:gd name="T4" fmla="*/ 2147483647 w 300"/>
              <a:gd name="T5" fmla="*/ 2147483647 h 378"/>
              <a:gd name="T6" fmla="*/ 2147483647 w 300"/>
              <a:gd name="T7" fmla="*/ 2147483647 h 378"/>
              <a:gd name="T8" fmla="*/ 2147483647 w 300"/>
              <a:gd name="T9" fmla="*/ 2147483647 h 378"/>
              <a:gd name="T10" fmla="*/ 2147483647 w 300"/>
              <a:gd name="T11" fmla="*/ 2147483647 h 378"/>
              <a:gd name="T12" fmla="*/ 2147483647 w 300"/>
              <a:gd name="T13" fmla="*/ 2147483647 h 378"/>
              <a:gd name="T14" fmla="*/ 2147483647 w 300"/>
              <a:gd name="T15" fmla="*/ 2147483647 h 378"/>
              <a:gd name="T16" fmla="*/ 2147483647 w 300"/>
              <a:gd name="T17" fmla="*/ 2147483647 h 378"/>
              <a:gd name="T18" fmla="*/ 2147483647 w 300"/>
              <a:gd name="T19" fmla="*/ 2147483647 h 378"/>
              <a:gd name="T20" fmla="*/ 2147483647 w 300"/>
              <a:gd name="T21" fmla="*/ 2147483647 h 378"/>
              <a:gd name="T22" fmla="*/ 2147483647 w 300"/>
              <a:gd name="T23" fmla="*/ 2147483647 h 378"/>
              <a:gd name="T24" fmla="*/ 2147483647 w 300"/>
              <a:gd name="T25" fmla="*/ 0 h 378"/>
              <a:gd name="T26" fmla="*/ 2147483647 w 300"/>
              <a:gd name="T27" fmla="*/ 0 h 378"/>
              <a:gd name="T28" fmla="*/ 2147483647 w 300"/>
              <a:gd name="T29" fmla="*/ 2147483647 h 378"/>
              <a:gd name="T30" fmla="*/ 2147483647 w 300"/>
              <a:gd name="T31" fmla="*/ 2147483647 h 378"/>
              <a:gd name="T32" fmla="*/ 2147483647 w 300"/>
              <a:gd name="T33" fmla="*/ 2147483647 h 378"/>
              <a:gd name="T34" fmla="*/ 2147483647 w 300"/>
              <a:gd name="T35" fmla="*/ 2147483647 h 378"/>
              <a:gd name="T36" fmla="*/ 2147483647 w 300"/>
              <a:gd name="T37" fmla="*/ 2147483647 h 378"/>
              <a:gd name="T38" fmla="*/ 2147483647 w 300"/>
              <a:gd name="T39" fmla="*/ 2147483647 h 378"/>
              <a:gd name="T40" fmla="*/ 2147483647 w 300"/>
              <a:gd name="T41" fmla="*/ 2147483647 h 378"/>
              <a:gd name="T42" fmla="*/ 2147483647 w 300"/>
              <a:gd name="T43" fmla="*/ 2147483647 h 378"/>
              <a:gd name="T44" fmla="*/ 2147483647 w 300"/>
              <a:gd name="T45" fmla="*/ 2147483647 h 378"/>
              <a:gd name="T46" fmla="*/ 2147483647 w 300"/>
              <a:gd name="T47" fmla="*/ 2147483647 h 378"/>
              <a:gd name="T48" fmla="*/ 2147483647 w 300"/>
              <a:gd name="T49" fmla="*/ 2147483647 h 378"/>
              <a:gd name="T50" fmla="*/ 2147483647 w 300"/>
              <a:gd name="T51" fmla="*/ 2147483647 h 378"/>
              <a:gd name="T52" fmla="*/ 2147483647 w 300"/>
              <a:gd name="T53" fmla="*/ 2147483647 h 378"/>
              <a:gd name="T54" fmla="*/ 2147483647 w 300"/>
              <a:gd name="T55" fmla="*/ 2147483647 h 378"/>
              <a:gd name="T56" fmla="*/ 2147483647 w 300"/>
              <a:gd name="T57" fmla="*/ 2147483647 h 378"/>
              <a:gd name="T58" fmla="*/ 2147483647 w 300"/>
              <a:gd name="T59" fmla="*/ 2147483647 h 378"/>
              <a:gd name="T60" fmla="*/ 2147483647 w 300"/>
              <a:gd name="T61" fmla="*/ 2147483647 h 378"/>
              <a:gd name="T62" fmla="*/ 2147483647 w 300"/>
              <a:gd name="T63" fmla="*/ 2147483647 h 378"/>
              <a:gd name="T64" fmla="*/ 2147483647 w 300"/>
              <a:gd name="T65" fmla="*/ 2147483647 h 378"/>
              <a:gd name="T66" fmla="*/ 2147483647 w 300"/>
              <a:gd name="T67" fmla="*/ 2147483647 h 378"/>
              <a:gd name="T68" fmla="*/ 2147483647 w 300"/>
              <a:gd name="T69" fmla="*/ 2147483647 h 378"/>
              <a:gd name="T70" fmla="*/ 2147483647 w 300"/>
              <a:gd name="T71" fmla="*/ 2147483647 h 378"/>
              <a:gd name="T72" fmla="*/ 2147483647 w 300"/>
              <a:gd name="T73" fmla="*/ 2147483647 h 378"/>
              <a:gd name="T74" fmla="*/ 2147483647 w 300"/>
              <a:gd name="T75" fmla="*/ 2147483647 h 378"/>
              <a:gd name="T76" fmla="*/ 2147483647 w 300"/>
              <a:gd name="T77" fmla="*/ 2147483647 h 378"/>
              <a:gd name="T78" fmla="*/ 2147483647 w 300"/>
              <a:gd name="T79" fmla="*/ 2147483647 h 378"/>
              <a:gd name="T80" fmla="*/ 2147483647 w 300"/>
              <a:gd name="T81" fmla="*/ 2147483647 h 378"/>
              <a:gd name="T82" fmla="*/ 2147483647 w 300"/>
              <a:gd name="T83" fmla="*/ 2147483647 h 378"/>
              <a:gd name="T84" fmla="*/ 2147483647 w 300"/>
              <a:gd name="T85" fmla="*/ 2147483647 h 378"/>
              <a:gd name="T86" fmla="*/ 2147483647 w 300"/>
              <a:gd name="T87" fmla="*/ 2147483647 h 378"/>
              <a:gd name="T88" fmla="*/ 2147483647 w 300"/>
              <a:gd name="T89" fmla="*/ 2147483647 h 378"/>
              <a:gd name="T90" fmla="*/ 2147483647 w 300"/>
              <a:gd name="T91" fmla="*/ 2147483647 h 378"/>
              <a:gd name="T92" fmla="*/ 2147483647 w 300"/>
              <a:gd name="T93" fmla="*/ 2147483647 h 378"/>
              <a:gd name="T94" fmla="*/ 2147483647 w 300"/>
              <a:gd name="T95" fmla="*/ 2147483647 h 378"/>
              <a:gd name="T96" fmla="*/ 2147483647 w 300"/>
              <a:gd name="T97" fmla="*/ 2147483647 h 378"/>
              <a:gd name="T98" fmla="*/ 2147483647 w 300"/>
              <a:gd name="T99" fmla="*/ 2147483647 h 378"/>
              <a:gd name="T100" fmla="*/ 0 w 300"/>
              <a:gd name="T101" fmla="*/ 2147483647 h 378"/>
              <a:gd name="T102" fmla="*/ 0 w 300"/>
              <a:gd name="T103" fmla="*/ 2147483647 h 37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300" h="378">
                <a:moveTo>
                  <a:pt x="0" y="138"/>
                </a:moveTo>
                <a:lnTo>
                  <a:pt x="42" y="126"/>
                </a:lnTo>
                <a:lnTo>
                  <a:pt x="78" y="108"/>
                </a:lnTo>
                <a:lnTo>
                  <a:pt x="114" y="90"/>
                </a:lnTo>
                <a:lnTo>
                  <a:pt x="120" y="54"/>
                </a:lnTo>
                <a:lnTo>
                  <a:pt x="120" y="42"/>
                </a:lnTo>
                <a:lnTo>
                  <a:pt x="126" y="42"/>
                </a:lnTo>
                <a:lnTo>
                  <a:pt x="132" y="42"/>
                </a:lnTo>
                <a:lnTo>
                  <a:pt x="138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36"/>
                </a:lnTo>
                <a:lnTo>
                  <a:pt x="156" y="36"/>
                </a:lnTo>
                <a:lnTo>
                  <a:pt x="156" y="42"/>
                </a:lnTo>
                <a:lnTo>
                  <a:pt x="162" y="36"/>
                </a:lnTo>
                <a:lnTo>
                  <a:pt x="168" y="36"/>
                </a:lnTo>
                <a:lnTo>
                  <a:pt x="168" y="30"/>
                </a:lnTo>
                <a:lnTo>
                  <a:pt x="174" y="30"/>
                </a:lnTo>
                <a:lnTo>
                  <a:pt x="174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0"/>
                </a:lnTo>
                <a:lnTo>
                  <a:pt x="192" y="0"/>
                </a:lnTo>
                <a:lnTo>
                  <a:pt x="198" y="0"/>
                </a:lnTo>
                <a:lnTo>
                  <a:pt x="204" y="0"/>
                </a:lnTo>
                <a:lnTo>
                  <a:pt x="204" y="6"/>
                </a:lnTo>
                <a:lnTo>
                  <a:pt x="204" y="12"/>
                </a:lnTo>
                <a:lnTo>
                  <a:pt x="204" y="18"/>
                </a:lnTo>
                <a:lnTo>
                  <a:pt x="204" y="24"/>
                </a:lnTo>
                <a:lnTo>
                  <a:pt x="198" y="24"/>
                </a:lnTo>
                <a:lnTo>
                  <a:pt x="198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42"/>
                </a:lnTo>
                <a:lnTo>
                  <a:pt x="186" y="48"/>
                </a:lnTo>
                <a:lnTo>
                  <a:pt x="186" y="54"/>
                </a:lnTo>
                <a:lnTo>
                  <a:pt x="186" y="60"/>
                </a:lnTo>
                <a:lnTo>
                  <a:pt x="186" y="66"/>
                </a:lnTo>
                <a:lnTo>
                  <a:pt x="186" y="72"/>
                </a:lnTo>
                <a:lnTo>
                  <a:pt x="186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90"/>
                </a:lnTo>
                <a:lnTo>
                  <a:pt x="186" y="90"/>
                </a:lnTo>
                <a:lnTo>
                  <a:pt x="186" y="96"/>
                </a:lnTo>
                <a:lnTo>
                  <a:pt x="186" y="102"/>
                </a:lnTo>
                <a:lnTo>
                  <a:pt x="180" y="102"/>
                </a:lnTo>
                <a:lnTo>
                  <a:pt x="180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20"/>
                </a:lnTo>
                <a:lnTo>
                  <a:pt x="174" y="126"/>
                </a:lnTo>
                <a:lnTo>
                  <a:pt x="174" y="132"/>
                </a:lnTo>
                <a:lnTo>
                  <a:pt x="180" y="132"/>
                </a:lnTo>
                <a:lnTo>
                  <a:pt x="180" y="138"/>
                </a:lnTo>
                <a:lnTo>
                  <a:pt x="180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6"/>
                </a:lnTo>
                <a:lnTo>
                  <a:pt x="186" y="162"/>
                </a:lnTo>
                <a:lnTo>
                  <a:pt x="192" y="162"/>
                </a:lnTo>
                <a:lnTo>
                  <a:pt x="192" y="168"/>
                </a:lnTo>
                <a:lnTo>
                  <a:pt x="198" y="168"/>
                </a:lnTo>
                <a:lnTo>
                  <a:pt x="198" y="174"/>
                </a:lnTo>
                <a:lnTo>
                  <a:pt x="204" y="174"/>
                </a:lnTo>
                <a:lnTo>
                  <a:pt x="204" y="180"/>
                </a:lnTo>
                <a:lnTo>
                  <a:pt x="210" y="180"/>
                </a:lnTo>
                <a:lnTo>
                  <a:pt x="216" y="180"/>
                </a:lnTo>
                <a:lnTo>
                  <a:pt x="222" y="180"/>
                </a:lnTo>
                <a:lnTo>
                  <a:pt x="228" y="180"/>
                </a:lnTo>
                <a:lnTo>
                  <a:pt x="234" y="180"/>
                </a:lnTo>
                <a:lnTo>
                  <a:pt x="240" y="180"/>
                </a:lnTo>
                <a:lnTo>
                  <a:pt x="240" y="174"/>
                </a:lnTo>
                <a:lnTo>
                  <a:pt x="246" y="174"/>
                </a:lnTo>
                <a:lnTo>
                  <a:pt x="252" y="174"/>
                </a:lnTo>
                <a:lnTo>
                  <a:pt x="258" y="174"/>
                </a:lnTo>
                <a:lnTo>
                  <a:pt x="264" y="174"/>
                </a:lnTo>
                <a:lnTo>
                  <a:pt x="270" y="174"/>
                </a:lnTo>
                <a:lnTo>
                  <a:pt x="276" y="174"/>
                </a:lnTo>
                <a:lnTo>
                  <a:pt x="276" y="180"/>
                </a:lnTo>
                <a:lnTo>
                  <a:pt x="282" y="180"/>
                </a:lnTo>
                <a:lnTo>
                  <a:pt x="288" y="180"/>
                </a:lnTo>
                <a:lnTo>
                  <a:pt x="288" y="186"/>
                </a:lnTo>
                <a:lnTo>
                  <a:pt x="294" y="186"/>
                </a:lnTo>
                <a:lnTo>
                  <a:pt x="300" y="186"/>
                </a:lnTo>
                <a:lnTo>
                  <a:pt x="300" y="210"/>
                </a:lnTo>
                <a:lnTo>
                  <a:pt x="282" y="234"/>
                </a:lnTo>
                <a:lnTo>
                  <a:pt x="270" y="264"/>
                </a:lnTo>
                <a:lnTo>
                  <a:pt x="210" y="306"/>
                </a:lnTo>
                <a:lnTo>
                  <a:pt x="186" y="336"/>
                </a:lnTo>
                <a:lnTo>
                  <a:pt x="168" y="354"/>
                </a:lnTo>
                <a:lnTo>
                  <a:pt x="150" y="366"/>
                </a:lnTo>
                <a:lnTo>
                  <a:pt x="144" y="378"/>
                </a:lnTo>
                <a:lnTo>
                  <a:pt x="114" y="354"/>
                </a:lnTo>
                <a:lnTo>
                  <a:pt x="84" y="330"/>
                </a:lnTo>
                <a:lnTo>
                  <a:pt x="48" y="312"/>
                </a:lnTo>
                <a:lnTo>
                  <a:pt x="36" y="288"/>
                </a:lnTo>
                <a:lnTo>
                  <a:pt x="18" y="270"/>
                </a:lnTo>
                <a:lnTo>
                  <a:pt x="0" y="240"/>
                </a:lnTo>
                <a:lnTo>
                  <a:pt x="0" y="186"/>
                </a:lnTo>
                <a:lnTo>
                  <a:pt x="0" y="13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43" name="Freeform 85" descr="Light downward diagonal"/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5183350" y="3625515"/>
            <a:ext cx="898600" cy="643653"/>
          </a:xfrm>
          <a:custGeom>
            <a:avLst/>
            <a:gdLst>
              <a:gd name="T0" fmla="*/ 2147483647 w 498"/>
              <a:gd name="T1" fmla="*/ 2147483647 h 414"/>
              <a:gd name="T2" fmla="*/ 2147483647 w 498"/>
              <a:gd name="T3" fmla="*/ 2147483647 h 414"/>
              <a:gd name="T4" fmla="*/ 2147483647 w 498"/>
              <a:gd name="T5" fmla="*/ 0 h 414"/>
              <a:gd name="T6" fmla="*/ 2147483647 w 498"/>
              <a:gd name="T7" fmla="*/ 2147483647 h 414"/>
              <a:gd name="T8" fmla="*/ 2147483647 w 498"/>
              <a:gd name="T9" fmla="*/ 2147483647 h 414"/>
              <a:gd name="T10" fmla="*/ 2147483647 w 498"/>
              <a:gd name="T11" fmla="*/ 2147483647 h 414"/>
              <a:gd name="T12" fmla="*/ 2147483647 w 498"/>
              <a:gd name="T13" fmla="*/ 2147483647 h 414"/>
              <a:gd name="T14" fmla="*/ 2147483647 w 498"/>
              <a:gd name="T15" fmla="*/ 2147483647 h 414"/>
              <a:gd name="T16" fmla="*/ 2147483647 w 498"/>
              <a:gd name="T17" fmla="*/ 2147483647 h 414"/>
              <a:gd name="T18" fmla="*/ 2147483647 w 498"/>
              <a:gd name="T19" fmla="*/ 2147483647 h 414"/>
              <a:gd name="T20" fmla="*/ 2147483647 w 498"/>
              <a:gd name="T21" fmla="*/ 2147483647 h 414"/>
              <a:gd name="T22" fmla="*/ 2147483647 w 498"/>
              <a:gd name="T23" fmla="*/ 2147483647 h 414"/>
              <a:gd name="T24" fmla="*/ 2147483647 w 498"/>
              <a:gd name="T25" fmla="*/ 2147483647 h 414"/>
              <a:gd name="T26" fmla="*/ 2147483647 w 498"/>
              <a:gd name="T27" fmla="*/ 2147483647 h 414"/>
              <a:gd name="T28" fmla="*/ 2147483647 w 498"/>
              <a:gd name="T29" fmla="*/ 2147483647 h 414"/>
              <a:gd name="T30" fmla="*/ 2147483647 w 498"/>
              <a:gd name="T31" fmla="*/ 2147483647 h 414"/>
              <a:gd name="T32" fmla="*/ 2147483647 w 498"/>
              <a:gd name="T33" fmla="*/ 2147483647 h 414"/>
              <a:gd name="T34" fmla="*/ 2147483647 w 498"/>
              <a:gd name="T35" fmla="*/ 2147483647 h 414"/>
              <a:gd name="T36" fmla="*/ 2147483647 w 498"/>
              <a:gd name="T37" fmla="*/ 2147483647 h 414"/>
              <a:gd name="T38" fmla="*/ 2147483647 w 498"/>
              <a:gd name="T39" fmla="*/ 2147483647 h 414"/>
              <a:gd name="T40" fmla="*/ 2147483647 w 498"/>
              <a:gd name="T41" fmla="*/ 2147483647 h 414"/>
              <a:gd name="T42" fmla="*/ 2147483647 w 498"/>
              <a:gd name="T43" fmla="*/ 2147483647 h 414"/>
              <a:gd name="T44" fmla="*/ 2147483647 w 498"/>
              <a:gd name="T45" fmla="*/ 2147483647 h 414"/>
              <a:gd name="T46" fmla="*/ 2147483647 w 498"/>
              <a:gd name="T47" fmla="*/ 2147483647 h 414"/>
              <a:gd name="T48" fmla="*/ 2147483647 w 498"/>
              <a:gd name="T49" fmla="*/ 2147483647 h 414"/>
              <a:gd name="T50" fmla="*/ 2147483647 w 498"/>
              <a:gd name="T51" fmla="*/ 2147483647 h 414"/>
              <a:gd name="T52" fmla="*/ 2147483647 w 498"/>
              <a:gd name="T53" fmla="*/ 2147483647 h 414"/>
              <a:gd name="T54" fmla="*/ 2147483647 w 498"/>
              <a:gd name="T55" fmla="*/ 2147483647 h 414"/>
              <a:gd name="T56" fmla="*/ 2147483647 w 498"/>
              <a:gd name="T57" fmla="*/ 2147483647 h 414"/>
              <a:gd name="T58" fmla="*/ 2147483647 w 498"/>
              <a:gd name="T59" fmla="*/ 2147483647 h 414"/>
              <a:gd name="T60" fmla="*/ 2147483647 w 498"/>
              <a:gd name="T61" fmla="*/ 2147483647 h 414"/>
              <a:gd name="T62" fmla="*/ 2147483647 w 498"/>
              <a:gd name="T63" fmla="*/ 2147483647 h 414"/>
              <a:gd name="T64" fmla="*/ 2147483647 w 498"/>
              <a:gd name="T65" fmla="*/ 2147483647 h 414"/>
              <a:gd name="T66" fmla="*/ 2147483647 w 498"/>
              <a:gd name="T67" fmla="*/ 2147483647 h 414"/>
              <a:gd name="T68" fmla="*/ 2147483647 w 498"/>
              <a:gd name="T69" fmla="*/ 2147483647 h 414"/>
              <a:gd name="T70" fmla="*/ 2147483647 w 498"/>
              <a:gd name="T71" fmla="*/ 2147483647 h 414"/>
              <a:gd name="T72" fmla="*/ 0 w 498"/>
              <a:gd name="T73" fmla="*/ 2147483647 h 414"/>
              <a:gd name="T74" fmla="*/ 2147483647 w 498"/>
              <a:gd name="T75" fmla="*/ 2147483647 h 414"/>
              <a:gd name="T76" fmla="*/ 2147483647 w 498"/>
              <a:gd name="T77" fmla="*/ 2147483647 h 414"/>
              <a:gd name="T78" fmla="*/ 2147483647 w 498"/>
              <a:gd name="T79" fmla="*/ 2147483647 h 414"/>
              <a:gd name="T80" fmla="*/ 2147483647 w 498"/>
              <a:gd name="T81" fmla="*/ 2147483647 h 414"/>
              <a:gd name="T82" fmla="*/ 2147483647 w 498"/>
              <a:gd name="T83" fmla="*/ 2147483647 h 414"/>
              <a:gd name="T84" fmla="*/ 2147483647 w 498"/>
              <a:gd name="T85" fmla="*/ 2147483647 h 414"/>
              <a:gd name="T86" fmla="*/ 2147483647 w 498"/>
              <a:gd name="T87" fmla="*/ 2147483647 h 414"/>
              <a:gd name="T88" fmla="*/ 2147483647 w 498"/>
              <a:gd name="T89" fmla="*/ 2147483647 h 41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98" h="414">
                <a:moveTo>
                  <a:pt x="12" y="24"/>
                </a:moveTo>
                <a:lnTo>
                  <a:pt x="42" y="12"/>
                </a:lnTo>
                <a:lnTo>
                  <a:pt x="78" y="0"/>
                </a:lnTo>
                <a:lnTo>
                  <a:pt x="120" y="6"/>
                </a:lnTo>
                <a:lnTo>
                  <a:pt x="186" y="24"/>
                </a:lnTo>
                <a:lnTo>
                  <a:pt x="276" y="84"/>
                </a:lnTo>
                <a:lnTo>
                  <a:pt x="276" y="114"/>
                </a:lnTo>
                <a:lnTo>
                  <a:pt x="324" y="120"/>
                </a:lnTo>
                <a:lnTo>
                  <a:pt x="354" y="102"/>
                </a:lnTo>
                <a:lnTo>
                  <a:pt x="402" y="108"/>
                </a:lnTo>
                <a:lnTo>
                  <a:pt x="426" y="126"/>
                </a:lnTo>
                <a:lnTo>
                  <a:pt x="450" y="132"/>
                </a:lnTo>
                <a:lnTo>
                  <a:pt x="474" y="126"/>
                </a:lnTo>
                <a:lnTo>
                  <a:pt x="492" y="162"/>
                </a:lnTo>
                <a:lnTo>
                  <a:pt x="498" y="228"/>
                </a:lnTo>
                <a:lnTo>
                  <a:pt x="486" y="252"/>
                </a:lnTo>
                <a:lnTo>
                  <a:pt x="498" y="252"/>
                </a:lnTo>
                <a:lnTo>
                  <a:pt x="486" y="288"/>
                </a:lnTo>
                <a:lnTo>
                  <a:pt x="462" y="288"/>
                </a:lnTo>
                <a:lnTo>
                  <a:pt x="420" y="354"/>
                </a:lnTo>
                <a:lnTo>
                  <a:pt x="408" y="378"/>
                </a:lnTo>
                <a:lnTo>
                  <a:pt x="396" y="396"/>
                </a:lnTo>
                <a:lnTo>
                  <a:pt x="360" y="414"/>
                </a:lnTo>
                <a:lnTo>
                  <a:pt x="318" y="390"/>
                </a:lnTo>
                <a:lnTo>
                  <a:pt x="288" y="354"/>
                </a:lnTo>
                <a:lnTo>
                  <a:pt x="252" y="324"/>
                </a:lnTo>
                <a:lnTo>
                  <a:pt x="228" y="318"/>
                </a:lnTo>
                <a:lnTo>
                  <a:pt x="198" y="318"/>
                </a:lnTo>
                <a:lnTo>
                  <a:pt x="198" y="336"/>
                </a:lnTo>
                <a:lnTo>
                  <a:pt x="180" y="348"/>
                </a:lnTo>
                <a:lnTo>
                  <a:pt x="174" y="366"/>
                </a:lnTo>
                <a:lnTo>
                  <a:pt x="138" y="372"/>
                </a:lnTo>
                <a:lnTo>
                  <a:pt x="90" y="372"/>
                </a:lnTo>
                <a:lnTo>
                  <a:pt x="36" y="372"/>
                </a:lnTo>
                <a:lnTo>
                  <a:pt x="6" y="372"/>
                </a:lnTo>
                <a:lnTo>
                  <a:pt x="18" y="318"/>
                </a:lnTo>
                <a:lnTo>
                  <a:pt x="0" y="288"/>
                </a:lnTo>
                <a:lnTo>
                  <a:pt x="6" y="264"/>
                </a:lnTo>
                <a:lnTo>
                  <a:pt x="18" y="234"/>
                </a:lnTo>
                <a:lnTo>
                  <a:pt x="36" y="222"/>
                </a:lnTo>
                <a:lnTo>
                  <a:pt x="36" y="198"/>
                </a:lnTo>
                <a:lnTo>
                  <a:pt x="42" y="156"/>
                </a:lnTo>
                <a:lnTo>
                  <a:pt x="36" y="72"/>
                </a:lnTo>
                <a:lnTo>
                  <a:pt x="30" y="48"/>
                </a:lnTo>
                <a:lnTo>
                  <a:pt x="12" y="24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44" name="Freeform 86" descr="Light downward diagonal"/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6577098" y="3266095"/>
            <a:ext cx="698707" cy="419934"/>
          </a:xfrm>
          <a:custGeom>
            <a:avLst/>
            <a:gdLst>
              <a:gd name="T0" fmla="*/ 0 w 438"/>
              <a:gd name="T1" fmla="*/ 2147483647 h 304"/>
              <a:gd name="T2" fmla="*/ 0 w 438"/>
              <a:gd name="T3" fmla="*/ 2147483647 h 304"/>
              <a:gd name="T4" fmla="*/ 2147483647 w 438"/>
              <a:gd name="T5" fmla="*/ 2147483647 h 304"/>
              <a:gd name="T6" fmla="*/ 2147483647 w 438"/>
              <a:gd name="T7" fmla="*/ 2147483647 h 304"/>
              <a:gd name="T8" fmla="*/ 2147483647 w 438"/>
              <a:gd name="T9" fmla="*/ 2147483647 h 304"/>
              <a:gd name="T10" fmla="*/ 2147483647 w 438"/>
              <a:gd name="T11" fmla="*/ 2147483647 h 304"/>
              <a:gd name="T12" fmla="*/ 2147483647 w 438"/>
              <a:gd name="T13" fmla="*/ 2147483647 h 304"/>
              <a:gd name="T14" fmla="*/ 2147483647 w 438"/>
              <a:gd name="T15" fmla="*/ 2147483647 h 304"/>
              <a:gd name="T16" fmla="*/ 2147483647 w 438"/>
              <a:gd name="T17" fmla="*/ 2147483647 h 304"/>
              <a:gd name="T18" fmla="*/ 2147483647 w 438"/>
              <a:gd name="T19" fmla="*/ 2147483647 h 304"/>
              <a:gd name="T20" fmla="*/ 2147483647 w 438"/>
              <a:gd name="T21" fmla="*/ 2147483647 h 304"/>
              <a:gd name="T22" fmla="*/ 2147483647 w 438"/>
              <a:gd name="T23" fmla="*/ 2147483647 h 304"/>
              <a:gd name="T24" fmla="*/ 2147483647 w 438"/>
              <a:gd name="T25" fmla="*/ 2147483647 h 304"/>
              <a:gd name="T26" fmla="*/ 2147483647 w 438"/>
              <a:gd name="T27" fmla="*/ 2147483647 h 304"/>
              <a:gd name="T28" fmla="*/ 2147483647 w 438"/>
              <a:gd name="T29" fmla="*/ 2147483647 h 304"/>
              <a:gd name="T30" fmla="*/ 2147483647 w 438"/>
              <a:gd name="T31" fmla="*/ 2147483647 h 304"/>
              <a:gd name="T32" fmla="*/ 2147483647 w 438"/>
              <a:gd name="T33" fmla="*/ 2147483647 h 304"/>
              <a:gd name="T34" fmla="*/ 2147483647 w 438"/>
              <a:gd name="T35" fmla="*/ 2147483647 h 304"/>
              <a:gd name="T36" fmla="*/ 2147483647 w 438"/>
              <a:gd name="T37" fmla="*/ 2147483647 h 304"/>
              <a:gd name="T38" fmla="*/ 2147483647 w 438"/>
              <a:gd name="T39" fmla="*/ 2147483647 h 304"/>
              <a:gd name="T40" fmla="*/ 2147483647 w 438"/>
              <a:gd name="T41" fmla="*/ 2147483647 h 304"/>
              <a:gd name="T42" fmla="*/ 2147483647 w 438"/>
              <a:gd name="T43" fmla="*/ 2147483647 h 304"/>
              <a:gd name="T44" fmla="*/ 2147483647 w 438"/>
              <a:gd name="T45" fmla="*/ 2147483647 h 304"/>
              <a:gd name="T46" fmla="*/ 2147483647 w 438"/>
              <a:gd name="T47" fmla="*/ 2147483647 h 304"/>
              <a:gd name="T48" fmla="*/ 2147483647 w 438"/>
              <a:gd name="T49" fmla="*/ 2147483647 h 304"/>
              <a:gd name="T50" fmla="*/ 2147483647 w 438"/>
              <a:gd name="T51" fmla="*/ 2147483647 h 304"/>
              <a:gd name="T52" fmla="*/ 2147483647 w 438"/>
              <a:gd name="T53" fmla="*/ 2147483647 h 304"/>
              <a:gd name="T54" fmla="*/ 2147483647 w 438"/>
              <a:gd name="T55" fmla="*/ 2147483647 h 304"/>
              <a:gd name="T56" fmla="*/ 2147483647 w 438"/>
              <a:gd name="T57" fmla="*/ 2147483647 h 304"/>
              <a:gd name="T58" fmla="*/ 2147483647 w 438"/>
              <a:gd name="T59" fmla="*/ 2147483647 h 304"/>
              <a:gd name="T60" fmla="*/ 2147483647 w 438"/>
              <a:gd name="T61" fmla="*/ 2147483647 h 304"/>
              <a:gd name="T62" fmla="*/ 2147483647 w 438"/>
              <a:gd name="T63" fmla="*/ 0 h 304"/>
              <a:gd name="T64" fmla="*/ 2147483647 w 438"/>
              <a:gd name="T65" fmla="*/ 1710344643 h 304"/>
              <a:gd name="T66" fmla="*/ 2147483647 w 438"/>
              <a:gd name="T67" fmla="*/ 2147483647 h 304"/>
              <a:gd name="T68" fmla="*/ 2147483647 w 438"/>
              <a:gd name="T69" fmla="*/ 2147483647 h 304"/>
              <a:gd name="T70" fmla="*/ 2147483647 w 438"/>
              <a:gd name="T71" fmla="*/ 2147483647 h 304"/>
              <a:gd name="T72" fmla="*/ 2147483647 w 438"/>
              <a:gd name="T73" fmla="*/ 2147483647 h 304"/>
              <a:gd name="T74" fmla="*/ 2147483647 w 438"/>
              <a:gd name="T75" fmla="*/ 2147483647 h 304"/>
              <a:gd name="T76" fmla="*/ 2147483647 w 438"/>
              <a:gd name="T77" fmla="*/ 2147483647 h 304"/>
              <a:gd name="T78" fmla="*/ 2147483647 w 438"/>
              <a:gd name="T79" fmla="*/ 2147483647 h 304"/>
              <a:gd name="T80" fmla="*/ 2147483647 w 438"/>
              <a:gd name="T81" fmla="*/ 2147483647 h 304"/>
              <a:gd name="T82" fmla="*/ 2147483647 w 438"/>
              <a:gd name="T83" fmla="*/ 2147483647 h 304"/>
              <a:gd name="T84" fmla="*/ 2147483647 w 438"/>
              <a:gd name="T85" fmla="*/ 2147483647 h 304"/>
              <a:gd name="T86" fmla="*/ 2147483647 w 438"/>
              <a:gd name="T87" fmla="*/ 2147483647 h 304"/>
              <a:gd name="T88" fmla="*/ 2147483647 w 438"/>
              <a:gd name="T89" fmla="*/ 2147483647 h 304"/>
              <a:gd name="T90" fmla="*/ 2147483647 w 438"/>
              <a:gd name="T91" fmla="*/ 2147483647 h 304"/>
              <a:gd name="T92" fmla="*/ 2147483647 w 438"/>
              <a:gd name="T93" fmla="*/ 2147483647 h 304"/>
              <a:gd name="T94" fmla="*/ 2147483647 w 438"/>
              <a:gd name="T95" fmla="*/ 2147483647 h 304"/>
              <a:gd name="T96" fmla="*/ 2147483647 w 438"/>
              <a:gd name="T97" fmla="*/ 2147483647 h 304"/>
              <a:gd name="T98" fmla="*/ 2147483647 w 438"/>
              <a:gd name="T99" fmla="*/ 2147483647 h 304"/>
              <a:gd name="T100" fmla="*/ 2147483647 w 438"/>
              <a:gd name="T101" fmla="*/ 2147483647 h 304"/>
              <a:gd name="T102" fmla="*/ 2147483647 w 438"/>
              <a:gd name="T103" fmla="*/ 2147483647 h 304"/>
              <a:gd name="T104" fmla="*/ 2147483647 w 438"/>
              <a:gd name="T105" fmla="*/ 2147483647 h 304"/>
              <a:gd name="T106" fmla="*/ 2147483647 w 438"/>
              <a:gd name="T107" fmla="*/ 2147483647 h 304"/>
              <a:gd name="T108" fmla="*/ 2147483647 w 438"/>
              <a:gd name="T109" fmla="*/ 2147483647 h 304"/>
              <a:gd name="T110" fmla="*/ 2147483647 w 438"/>
              <a:gd name="T111" fmla="*/ 2147483647 h 304"/>
              <a:gd name="T112" fmla="*/ 2147483647 w 438"/>
              <a:gd name="T113" fmla="*/ 2147483647 h 304"/>
              <a:gd name="T114" fmla="*/ 2147483647 w 438"/>
              <a:gd name="T115" fmla="*/ 2147483647 h 304"/>
              <a:gd name="T116" fmla="*/ 0 w 438"/>
              <a:gd name="T117" fmla="*/ 2147483647 h 30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438" h="304">
                <a:moveTo>
                  <a:pt x="0" y="169"/>
                </a:moveTo>
                <a:lnTo>
                  <a:pt x="0" y="196"/>
                </a:lnTo>
                <a:lnTo>
                  <a:pt x="8" y="231"/>
                </a:lnTo>
                <a:lnTo>
                  <a:pt x="17" y="244"/>
                </a:lnTo>
                <a:lnTo>
                  <a:pt x="44" y="264"/>
                </a:lnTo>
                <a:lnTo>
                  <a:pt x="71" y="277"/>
                </a:lnTo>
                <a:lnTo>
                  <a:pt x="92" y="288"/>
                </a:lnTo>
                <a:lnTo>
                  <a:pt x="113" y="298"/>
                </a:lnTo>
                <a:lnTo>
                  <a:pt x="134" y="300"/>
                </a:lnTo>
                <a:lnTo>
                  <a:pt x="161" y="303"/>
                </a:lnTo>
                <a:lnTo>
                  <a:pt x="176" y="304"/>
                </a:lnTo>
                <a:lnTo>
                  <a:pt x="215" y="304"/>
                </a:lnTo>
                <a:lnTo>
                  <a:pt x="249" y="249"/>
                </a:lnTo>
                <a:lnTo>
                  <a:pt x="261" y="238"/>
                </a:lnTo>
                <a:lnTo>
                  <a:pt x="288" y="225"/>
                </a:lnTo>
                <a:lnTo>
                  <a:pt x="309" y="214"/>
                </a:lnTo>
                <a:lnTo>
                  <a:pt x="339" y="207"/>
                </a:lnTo>
                <a:lnTo>
                  <a:pt x="350" y="193"/>
                </a:lnTo>
                <a:lnTo>
                  <a:pt x="365" y="168"/>
                </a:lnTo>
                <a:lnTo>
                  <a:pt x="387" y="144"/>
                </a:lnTo>
                <a:lnTo>
                  <a:pt x="408" y="124"/>
                </a:lnTo>
                <a:lnTo>
                  <a:pt x="425" y="112"/>
                </a:lnTo>
                <a:lnTo>
                  <a:pt x="438" y="105"/>
                </a:lnTo>
                <a:lnTo>
                  <a:pt x="425" y="91"/>
                </a:lnTo>
                <a:lnTo>
                  <a:pt x="420" y="64"/>
                </a:lnTo>
                <a:lnTo>
                  <a:pt x="425" y="40"/>
                </a:lnTo>
                <a:lnTo>
                  <a:pt x="410" y="33"/>
                </a:lnTo>
                <a:lnTo>
                  <a:pt x="387" y="25"/>
                </a:lnTo>
                <a:lnTo>
                  <a:pt x="374" y="18"/>
                </a:lnTo>
                <a:lnTo>
                  <a:pt x="356" y="7"/>
                </a:lnTo>
                <a:lnTo>
                  <a:pt x="341" y="3"/>
                </a:lnTo>
                <a:lnTo>
                  <a:pt x="332" y="0"/>
                </a:lnTo>
                <a:lnTo>
                  <a:pt x="308" y="1"/>
                </a:lnTo>
                <a:lnTo>
                  <a:pt x="300" y="4"/>
                </a:lnTo>
                <a:lnTo>
                  <a:pt x="291" y="10"/>
                </a:lnTo>
                <a:lnTo>
                  <a:pt x="299" y="24"/>
                </a:lnTo>
                <a:lnTo>
                  <a:pt x="320" y="33"/>
                </a:lnTo>
                <a:lnTo>
                  <a:pt x="329" y="42"/>
                </a:lnTo>
                <a:lnTo>
                  <a:pt x="317" y="54"/>
                </a:lnTo>
                <a:lnTo>
                  <a:pt x="306" y="58"/>
                </a:lnTo>
                <a:lnTo>
                  <a:pt x="285" y="63"/>
                </a:lnTo>
                <a:lnTo>
                  <a:pt x="257" y="67"/>
                </a:lnTo>
                <a:lnTo>
                  <a:pt x="231" y="67"/>
                </a:lnTo>
                <a:lnTo>
                  <a:pt x="222" y="66"/>
                </a:lnTo>
                <a:lnTo>
                  <a:pt x="206" y="73"/>
                </a:lnTo>
                <a:lnTo>
                  <a:pt x="186" y="79"/>
                </a:lnTo>
                <a:lnTo>
                  <a:pt x="174" y="87"/>
                </a:lnTo>
                <a:lnTo>
                  <a:pt x="153" y="90"/>
                </a:lnTo>
                <a:lnTo>
                  <a:pt x="137" y="90"/>
                </a:lnTo>
                <a:lnTo>
                  <a:pt x="126" y="93"/>
                </a:lnTo>
                <a:lnTo>
                  <a:pt x="119" y="99"/>
                </a:lnTo>
                <a:lnTo>
                  <a:pt x="110" y="108"/>
                </a:lnTo>
                <a:lnTo>
                  <a:pt x="98" y="115"/>
                </a:lnTo>
                <a:lnTo>
                  <a:pt x="89" y="124"/>
                </a:lnTo>
                <a:lnTo>
                  <a:pt x="75" y="132"/>
                </a:lnTo>
                <a:lnTo>
                  <a:pt x="59" y="142"/>
                </a:lnTo>
                <a:lnTo>
                  <a:pt x="47" y="151"/>
                </a:lnTo>
                <a:lnTo>
                  <a:pt x="17" y="165"/>
                </a:lnTo>
                <a:lnTo>
                  <a:pt x="0" y="169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45" name="Line 87"/>
          <p:cNvSpPr>
            <a:spLocks noChangeShapeType="1"/>
          </p:cNvSpPr>
          <p:nvPr>
            <p:custDataLst>
              <p:tags r:id="rId78"/>
            </p:custDataLst>
          </p:nvPr>
        </p:nvSpPr>
        <p:spPr bwMode="gray">
          <a:xfrm>
            <a:off x="7349160" y="4432848"/>
            <a:ext cx="46764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1346" name="Rectangle 88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7037171" y="2212600"/>
            <a:ext cx="513597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dirty="0"/>
              <a:t>Rawalpindi</a:t>
            </a:r>
          </a:p>
        </p:txBody>
      </p:sp>
      <p:sp>
        <p:nvSpPr>
          <p:cNvPr id="11347" name="Rectangle 89"/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7816798" y="2651783"/>
            <a:ext cx="286241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Gujrat</a:t>
            </a:r>
          </a:p>
        </p:txBody>
      </p:sp>
      <p:sp>
        <p:nvSpPr>
          <p:cNvPr id="11348" name="Rectangle 90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7366585" y="2483078"/>
            <a:ext cx="33858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dirty="0"/>
              <a:t>Jhelum</a:t>
            </a:r>
          </a:p>
        </p:txBody>
      </p:sp>
      <p:sp>
        <p:nvSpPr>
          <p:cNvPr id="11349" name="Rectangle 91"/>
          <p:cNvSpPr>
            <a:spLocks noChangeArrowheads="1"/>
          </p:cNvSpPr>
          <p:nvPr>
            <p:custDataLst>
              <p:tags r:id="rId82"/>
            </p:custDataLst>
          </p:nvPr>
        </p:nvSpPr>
        <p:spPr bwMode="gray">
          <a:xfrm>
            <a:off x="7308815" y="2871836"/>
            <a:ext cx="40237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M.B. Din</a:t>
            </a:r>
          </a:p>
        </p:txBody>
      </p:sp>
      <p:sp>
        <p:nvSpPr>
          <p:cNvPr id="11350" name="Rectangle 92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8190909" y="2934184"/>
            <a:ext cx="315683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Sialkot</a:t>
            </a:r>
          </a:p>
        </p:txBody>
      </p:sp>
      <p:sp>
        <p:nvSpPr>
          <p:cNvPr id="11351" name="Rectangle 93"/>
          <p:cNvSpPr>
            <a:spLocks noChangeArrowheads="1"/>
          </p:cNvSpPr>
          <p:nvPr>
            <p:custDataLst>
              <p:tags r:id="rId84"/>
            </p:custDataLst>
          </p:nvPr>
        </p:nvSpPr>
        <p:spPr bwMode="gray">
          <a:xfrm>
            <a:off x="8570521" y="3024038"/>
            <a:ext cx="384380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Narowal</a:t>
            </a:r>
          </a:p>
        </p:txBody>
      </p:sp>
      <p:sp>
        <p:nvSpPr>
          <p:cNvPr id="11352" name="Rectangle 94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7824135" y="3152401"/>
            <a:ext cx="531589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100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Gujranwala</a:t>
            </a:r>
          </a:p>
        </p:txBody>
      </p:sp>
      <p:sp>
        <p:nvSpPr>
          <p:cNvPr id="11353" name="Rectangle 95"/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7321653" y="3194579"/>
            <a:ext cx="474341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18C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Hafizabad</a:t>
            </a:r>
          </a:p>
        </p:txBody>
      </p:sp>
      <p:sp>
        <p:nvSpPr>
          <p:cNvPr id="11354" name="Rectangle 96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8030397" y="3607917"/>
            <a:ext cx="328768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Lahore</a:t>
            </a:r>
          </a:p>
        </p:txBody>
      </p:sp>
      <p:sp>
        <p:nvSpPr>
          <p:cNvPr id="11355" name="Rectangle 97"/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6932869" y="3726373"/>
            <a:ext cx="515233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Faisalabad</a:t>
            </a:r>
          </a:p>
        </p:txBody>
      </p:sp>
      <p:sp>
        <p:nvSpPr>
          <p:cNvPr id="11356" name="Rectangle 98"/>
          <p:cNvSpPr>
            <a:spLocks noChangeArrowheads="1"/>
          </p:cNvSpPr>
          <p:nvPr>
            <p:custDataLst>
              <p:tags r:id="rId89"/>
            </p:custDataLst>
          </p:nvPr>
        </p:nvSpPr>
        <p:spPr bwMode="gray">
          <a:xfrm>
            <a:off x="7228124" y="5088863"/>
            <a:ext cx="66929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Bahawalnagar</a:t>
            </a:r>
          </a:p>
        </p:txBody>
      </p:sp>
      <p:sp>
        <p:nvSpPr>
          <p:cNvPr id="11357" name="Rectangle 99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7886487" y="4362248"/>
            <a:ext cx="471427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Pakpattan</a:t>
            </a:r>
          </a:p>
        </p:txBody>
      </p:sp>
      <p:sp>
        <p:nvSpPr>
          <p:cNvPr id="11358" name="Rectangle 100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7451858" y="4168310"/>
            <a:ext cx="285064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Okara</a:t>
            </a:r>
          </a:p>
        </p:txBody>
      </p:sp>
      <p:sp>
        <p:nvSpPr>
          <p:cNvPr id="11359" name="Rectangle 101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6670625" y="4320515"/>
            <a:ext cx="36659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Sahiwal</a:t>
            </a:r>
          </a:p>
        </p:txBody>
      </p:sp>
      <p:sp>
        <p:nvSpPr>
          <p:cNvPr id="11360" name="Rectangle 102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6014096" y="4349855"/>
            <a:ext cx="46289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dirty="0" err="1">
                <a:solidFill>
                  <a:schemeClr val="bg1"/>
                </a:solidFill>
              </a:rPr>
              <a:t>Khanewal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361" name="Rectangle 103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4578617" y="4368193"/>
            <a:ext cx="488755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FFFFFF"/>
                </a:solidFill>
              </a:rPr>
              <a:t>D.G. Khan</a:t>
            </a:r>
          </a:p>
        </p:txBody>
      </p:sp>
      <p:sp>
        <p:nvSpPr>
          <p:cNvPr id="11362" name="Rectangle 104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5401582" y="4966000"/>
            <a:ext cx="314200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Multan</a:t>
            </a:r>
          </a:p>
        </p:txBody>
      </p:sp>
      <p:sp>
        <p:nvSpPr>
          <p:cNvPr id="11363" name="Rectangle 105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5243839" y="4341397"/>
            <a:ext cx="350030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100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dirty="0" err="1">
                <a:solidFill>
                  <a:srgbClr val="FFFFFF"/>
                </a:solidFill>
              </a:rPr>
              <a:t>Muzaff</a:t>
            </a:r>
            <a:r>
              <a:rPr lang="en-US" sz="800" dirty="0">
                <a:solidFill>
                  <a:srgbClr val="FFFFFF"/>
                </a:solidFill>
              </a:rPr>
              <a:t>-</a:t>
            </a:r>
          </a:p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dirty="0" err="1">
                <a:solidFill>
                  <a:srgbClr val="FFFFFF"/>
                </a:solidFill>
              </a:rPr>
              <a:t>argarh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1364" name="Rectangle 106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5814206" y="4888981"/>
            <a:ext cx="434628" cy="14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0000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FFFFFF"/>
                </a:solidFill>
              </a:rPr>
              <a:t>Lodhran</a:t>
            </a:r>
          </a:p>
        </p:txBody>
      </p:sp>
      <p:sp>
        <p:nvSpPr>
          <p:cNvPr id="11365" name="Rectangle 107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6329524" y="4678099"/>
            <a:ext cx="296821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chemeClr val="bg1"/>
                </a:solidFill>
              </a:rPr>
              <a:t>Vehari</a:t>
            </a:r>
          </a:p>
        </p:txBody>
      </p:sp>
      <p:sp>
        <p:nvSpPr>
          <p:cNvPr id="11366" name="Rectangle 108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5495110" y="5604152"/>
            <a:ext cx="552853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FFFFFF"/>
                </a:solidFill>
              </a:rPr>
              <a:t>Bahawalpur</a:t>
            </a:r>
          </a:p>
        </p:txBody>
      </p:sp>
      <p:sp>
        <p:nvSpPr>
          <p:cNvPr id="11367" name="Rectangle 109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4416791" y="5842542"/>
            <a:ext cx="721479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FFFFFF"/>
                </a:solidFill>
              </a:rPr>
              <a:t>Rahimyar Khan</a:t>
            </a:r>
          </a:p>
        </p:txBody>
      </p:sp>
      <p:sp>
        <p:nvSpPr>
          <p:cNvPr id="11368" name="Rectangle 110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4310425" y="5343758"/>
            <a:ext cx="424811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FFFFFF"/>
                </a:solidFill>
              </a:rPr>
              <a:t>Rajanpur</a:t>
            </a:r>
          </a:p>
        </p:txBody>
      </p:sp>
      <p:sp>
        <p:nvSpPr>
          <p:cNvPr id="11369" name="Rectangle 111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5418088" y="3915250"/>
            <a:ext cx="337559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Layyah</a:t>
            </a:r>
          </a:p>
        </p:txBody>
      </p:sp>
      <p:sp>
        <p:nvSpPr>
          <p:cNvPr id="11370" name="Rectangle 112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6235996" y="3731873"/>
            <a:ext cx="287877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Jhang</a:t>
            </a:r>
          </a:p>
        </p:txBody>
      </p:sp>
      <p:sp>
        <p:nvSpPr>
          <p:cNvPr id="11371" name="Rectangle 113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6668792" y="3082718"/>
            <a:ext cx="457985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Sargodha</a:t>
            </a:r>
          </a:p>
        </p:txBody>
      </p:sp>
      <p:sp>
        <p:nvSpPr>
          <p:cNvPr id="11372" name="Rectangle 114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6081951" y="3084554"/>
            <a:ext cx="417093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Khushab</a:t>
            </a:r>
          </a:p>
        </p:txBody>
      </p:sp>
      <p:sp>
        <p:nvSpPr>
          <p:cNvPr id="11373" name="Rectangle 115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5471269" y="3425635"/>
            <a:ext cx="38402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Bhakkar</a:t>
            </a:r>
          </a:p>
        </p:txBody>
      </p:sp>
      <p:sp>
        <p:nvSpPr>
          <p:cNvPr id="11374" name="Rectangle 116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5660160" y="2660953"/>
            <a:ext cx="407279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Mianwali</a:t>
            </a:r>
          </a:p>
        </p:txBody>
      </p:sp>
      <p:sp>
        <p:nvSpPr>
          <p:cNvPr id="11375" name="Rectangle 117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6569761" y="2484909"/>
            <a:ext cx="40237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Chakwal</a:t>
            </a:r>
          </a:p>
        </p:txBody>
      </p:sp>
      <p:sp>
        <p:nvSpPr>
          <p:cNvPr id="11376" name="Rectangle 118"/>
          <p:cNvSpPr>
            <a:spLocks noChangeArrowheads="1"/>
          </p:cNvSpPr>
          <p:nvPr>
            <p:custDataLst>
              <p:tags r:id="rId109"/>
            </p:custDataLst>
          </p:nvPr>
        </p:nvSpPr>
        <p:spPr bwMode="gray">
          <a:xfrm>
            <a:off x="6518414" y="2119992"/>
            <a:ext cx="292783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Attock</a:t>
            </a:r>
          </a:p>
        </p:txBody>
      </p:sp>
      <p:sp>
        <p:nvSpPr>
          <p:cNvPr id="11377" name="Rectangle 119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8464157" y="3410965"/>
            <a:ext cx="569209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Shekhupura</a:t>
            </a:r>
          </a:p>
        </p:txBody>
      </p:sp>
      <p:sp>
        <p:nvSpPr>
          <p:cNvPr id="11378" name="Rectangle 120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7462860" y="3473313"/>
            <a:ext cx="419035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3300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Nankana </a:t>
            </a:r>
          </a:p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Sahib</a:t>
            </a:r>
          </a:p>
        </p:txBody>
      </p:sp>
      <p:sp>
        <p:nvSpPr>
          <p:cNvPr id="11379" name="Rectangle 121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6698133" y="3436638"/>
            <a:ext cx="32713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/>
              <a:t>Chiniot</a:t>
            </a:r>
          </a:p>
        </p:txBody>
      </p:sp>
      <p:sp>
        <p:nvSpPr>
          <p:cNvPr id="11380" name="Rectangle 122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6499921" y="3962928"/>
            <a:ext cx="269884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dirty="0" err="1"/>
              <a:t>T.T</a:t>
            </a:r>
            <a:r>
              <a:rPr lang="en-US" sz="800" dirty="0"/>
              <a:t>. </a:t>
            </a:r>
            <a:br>
              <a:rPr lang="en-US" sz="800" dirty="0"/>
            </a:br>
            <a:r>
              <a:rPr lang="en-US" sz="800" dirty="0"/>
              <a:t>Singh</a:t>
            </a:r>
          </a:p>
        </p:txBody>
      </p:sp>
      <p:sp>
        <p:nvSpPr>
          <p:cNvPr id="11381" name="Rectangle 123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7849807" y="3931756"/>
            <a:ext cx="27346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Kasur</a:t>
            </a:r>
          </a:p>
        </p:txBody>
      </p:sp>
      <p:sp>
        <p:nvSpPr>
          <p:cNvPr id="11382" name="Line 124"/>
          <p:cNvSpPr>
            <a:spLocks noChangeShapeType="1"/>
          </p:cNvSpPr>
          <p:nvPr>
            <p:custDataLst>
              <p:tags r:id="rId115"/>
            </p:custDataLst>
          </p:nvPr>
        </p:nvSpPr>
        <p:spPr bwMode="gray">
          <a:xfrm>
            <a:off x="7959841" y="3476980"/>
            <a:ext cx="46763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sz="1200"/>
          </a:p>
        </p:txBody>
      </p:sp>
      <p:sp>
        <p:nvSpPr>
          <p:cNvPr id="11383" name="McK 3. Unit of measure"/>
          <p:cNvSpPr txBox="1"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121489" y="583110"/>
            <a:ext cx="3730492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600">
                <a:solidFill>
                  <a:srgbClr val="808080"/>
                </a:solidFill>
              </a:rPr>
              <a:t>Enrolment of 5-9 year-olds, Percent</a:t>
            </a:r>
          </a:p>
        </p:txBody>
      </p:sp>
      <p:grpSp>
        <p:nvGrpSpPr>
          <p:cNvPr id="11384" name="Group 119"/>
          <p:cNvGrpSpPr>
            <a:grpSpLocks/>
          </p:cNvGrpSpPr>
          <p:nvPr>
            <p:custDataLst>
              <p:tags r:id="rId117"/>
            </p:custDataLst>
          </p:nvPr>
        </p:nvGrpSpPr>
        <p:grpSpPr bwMode="auto">
          <a:xfrm>
            <a:off x="6502041" y="1107906"/>
            <a:ext cx="2424902" cy="463248"/>
            <a:chOff x="4014" y="146"/>
            <a:chExt cx="1497" cy="286"/>
          </a:xfrm>
        </p:grpSpPr>
        <p:sp>
          <p:nvSpPr>
            <p:cNvPr id="11386" name="Legend1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4174" y="146"/>
              <a:ext cx="50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eaLnBrk="0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Above 90%</a:t>
              </a:r>
            </a:p>
          </p:txBody>
        </p:sp>
        <p:sp>
          <p:nvSpPr>
            <p:cNvPr id="11387" name="LegendRectangle1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014" y="149"/>
              <a:ext cx="104" cy="101"/>
            </a:xfrm>
            <a:prstGeom prst="rect">
              <a:avLst/>
            </a:prstGeom>
            <a:solidFill>
              <a:schemeClr val="hlink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1388" name="Legend2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174" y="316"/>
              <a:ext cx="33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eaLnBrk="0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85-90%</a:t>
              </a:r>
            </a:p>
          </p:txBody>
        </p:sp>
        <p:sp>
          <p:nvSpPr>
            <p:cNvPr id="11389" name="LegendRectangle2" descr="Light downward diagonal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014" y="319"/>
              <a:ext cx="104" cy="101"/>
            </a:xfrm>
            <a:prstGeom prst="rect">
              <a:avLst/>
            </a:prstGeom>
            <a:pattFill prst="wdUpDiag">
              <a:fgClr>
                <a:srgbClr val="FFFF00"/>
              </a:fgClr>
              <a:bgClr>
                <a:schemeClr val="hlink"/>
              </a:bgClr>
            </a:pattFill>
            <a:ln w="12700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1390" name="Legend4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5026" y="316"/>
              <a:ext cx="48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eaLnBrk="0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Below 80%</a:t>
              </a:r>
            </a:p>
          </p:txBody>
        </p:sp>
        <p:sp>
          <p:nvSpPr>
            <p:cNvPr id="11391" name="Legend3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26" y="146"/>
              <a:ext cx="33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eaLnBrk="0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80-84%</a:t>
              </a:r>
            </a:p>
          </p:txBody>
        </p:sp>
        <p:sp>
          <p:nvSpPr>
            <p:cNvPr id="11392" name="LegendRectangle3" descr="Light downward diagonal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4866" y="149"/>
              <a:ext cx="104" cy="101"/>
            </a:xfrm>
            <a:prstGeom prst="rect">
              <a:avLst/>
            </a:prstGeom>
            <a:pattFill prst="wdUpDiag">
              <a:fgClr>
                <a:srgbClr val="FF0000"/>
              </a:fgClr>
              <a:bgClr>
                <a:srgbClr val="FF9900"/>
              </a:bgClr>
            </a:pattFill>
            <a:ln w="12700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1393" name="LegendRectangle4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4866" y="319"/>
              <a:ext cx="104" cy="101"/>
            </a:xfrm>
            <a:prstGeom prst="rect">
              <a:avLst/>
            </a:prstGeom>
            <a:solidFill>
              <a:srgbClr val="FF0000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</p:grpSp>
      <p:sp>
        <p:nvSpPr>
          <p:cNvPr id="11385" name="McK 5. Source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87473" y="6618893"/>
            <a:ext cx="7002571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10" indent="-621910" defTabSz="913429">
              <a:spcBef>
                <a:spcPct val="0"/>
              </a:spcBef>
              <a:spcAft>
                <a:spcPct val="0"/>
              </a:spcAft>
              <a:tabLst>
                <a:tab pos="625148" algn="l"/>
              </a:tabLst>
            </a:pPr>
            <a:r>
              <a:rPr lang="en-GB" sz="900">
                <a:solidFill>
                  <a:srgbClr val="000000"/>
                </a:solidFill>
              </a:rPr>
              <a:t>SOURCE: Nielsen Household Survey December 2012</a:t>
            </a:r>
          </a:p>
        </p:txBody>
      </p:sp>
      <p:sp>
        <p:nvSpPr>
          <p:cNvPr id="130" name="Slide Number Placeholder 2"/>
          <p:cNvSpPr txBox="1"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6976653" y="6606942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6" tIns="46639" rIns="93276" bIns="46639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6C9D713-23A1-4B54-9F0B-CC1ADA2BF4D0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3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485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3533522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" name="think-cell Slide" r:id="rId54" imgW="270" imgH="270" progId="TCLayout.ActiveDocument.1">
                  <p:embed/>
                </p:oleObj>
              </mc:Choice>
              <mc:Fallback>
                <p:oleObj name="think-cell Slide" r:id="rId5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4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 defTabSz="931977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242" name="Slide Number Placeholder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>
            <a:lvl1pPr defTabSz="930254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7147" indent="-291212" defTabSz="930254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4844" indent="-232971" defTabSz="930254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30782" indent="-232971" defTabSz="930254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6719" indent="-232971" defTabSz="930254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2657" indent="-232971" defTabSz="930254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028594" indent="-232971" defTabSz="930254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4532" indent="-232971" defTabSz="930254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960468" indent="-232971" defTabSz="930254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C17EFD-2651-4DF9-901F-A65EEAEED93A}" type="slidenum">
              <a:rPr lang="en-GB" sz="1000">
                <a:solidFill>
                  <a:srgbClr val="898989"/>
                </a:solidFill>
                <a:latin typeface="Calibri" pitchFamily="34" charset="0"/>
              </a:rPr>
              <a:pPr eaLnBrk="1" hangingPunct="1"/>
              <a:t>24</a:t>
            </a:fld>
            <a:endParaRPr lang="en-GB" sz="10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0245" name="Slide Number Placeholder 1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76653" y="6606952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6" tIns="46590" rIns="93176" bIns="46590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161735F-518F-482B-92F4-DE148CBFEEA7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10247" name="Group 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5621" y="1132415"/>
            <a:ext cx="8552758" cy="5144149"/>
            <a:chOff x="114" y="674"/>
            <a:chExt cx="5280" cy="2822"/>
          </a:xfrm>
        </p:grpSpPr>
        <p:sp>
          <p:nvSpPr>
            <p:cNvPr id="10290" name="Rectangle 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114" y="674"/>
              <a:ext cx="5280" cy="282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197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91" name="Rectangle 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114" y="674"/>
              <a:ext cx="5280" cy="29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197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92" name="Rectangle 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173" y="803"/>
              <a:ext cx="4871" cy="11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400" b="1" dirty="0" smtClean="0">
                  <a:solidFill>
                    <a:srgbClr val="777777"/>
                  </a:solidFill>
                  <a:latin typeface="Arial" charset="0"/>
                </a:rPr>
                <a:t>% </a:t>
              </a:r>
              <a:r>
                <a:rPr lang="en-GB" sz="1400" b="1" dirty="0">
                  <a:solidFill>
                    <a:srgbClr val="777777"/>
                  </a:solidFill>
                  <a:latin typeface="Arial" charset="0"/>
                </a:rPr>
                <a:t>of students attending school each day</a:t>
              </a:r>
            </a:p>
          </p:txBody>
        </p:sp>
      </p:grpSp>
      <p:sp>
        <p:nvSpPr>
          <p:cNvPr id="10248" name="Rectangle 8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 bwMode="gray">
          <a:xfrm>
            <a:off x="121488" y="160158"/>
            <a:ext cx="8847621" cy="738664"/>
          </a:xfrm>
        </p:spPr>
        <p:txBody>
          <a:bodyPr/>
          <a:lstStyle/>
          <a:p>
            <a:r>
              <a:rPr lang="en-US" sz="2400" dirty="0"/>
              <a:t>Student attendance </a:t>
            </a:r>
            <a:r>
              <a:rPr lang="en-US" sz="2400" dirty="0" smtClean="0"/>
              <a:t>has reached </a:t>
            </a:r>
            <a:r>
              <a:rPr lang="en-US" sz="2400" dirty="0"/>
              <a:t>a new high, above the 2013 target</a:t>
            </a:r>
            <a:endParaRPr lang="en-GB" sz="2400" dirty="0"/>
          </a:p>
        </p:txBody>
      </p:sp>
      <p:graphicFrame>
        <p:nvGraphicFramePr>
          <p:cNvPr id="10249" name="Object 9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90873354"/>
              </p:ext>
            </p:extLst>
          </p:nvPr>
        </p:nvGraphicFramePr>
        <p:xfrm>
          <a:off x="352435" y="2144712"/>
          <a:ext cx="8437563" cy="3408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Chart" r:id="rId56" imgW="8267700" imgH="3340100" progId="MSGraph.Chart.8">
                  <p:embed followColorScheme="full"/>
                </p:oleObj>
              </mc:Choice>
              <mc:Fallback>
                <p:oleObj name="Chart" r:id="rId56" imgW="8267700" imgH="33401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52435" y="2144712"/>
                        <a:ext cx="8437563" cy="3408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362" name="Freeform 10361"/>
          <p:cNvSpPr/>
          <p:nvPr>
            <p:custDataLst>
              <p:tags r:id="rId10"/>
            </p:custDataLst>
          </p:nvPr>
        </p:nvSpPr>
        <p:spPr bwMode="auto">
          <a:xfrm>
            <a:off x="485961" y="4930504"/>
            <a:ext cx="8170476" cy="80988"/>
          </a:xfrm>
          <a:custGeom>
            <a:avLst/>
            <a:gdLst/>
            <a:ahLst/>
            <a:cxnLst/>
            <a:rect l="0" t="0" r="0" b="0"/>
            <a:pathLst>
              <a:path w="80073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186" tIns="121071" rIns="93186" bIns="12107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377" indent="-195760" defTabSz="912459" fontAlgn="base">
              <a:spcBef>
                <a:spcPct val="50000"/>
              </a:spcBef>
              <a:spcAft>
                <a:spcPct val="50000"/>
              </a:spcAft>
              <a:buClr>
                <a:srgbClr val="000000"/>
              </a:buClr>
              <a:buSzPct val="125000"/>
              <a:buFont typeface="Arial" charset="0"/>
              <a:buChar char="▪"/>
            </a:pPr>
            <a:endParaRPr lang="en-GB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61" name="Freeform 10360"/>
          <p:cNvSpPr/>
          <p:nvPr>
            <p:custDataLst>
              <p:tags r:id="rId11"/>
            </p:custDataLst>
          </p:nvPr>
        </p:nvSpPr>
        <p:spPr bwMode="auto">
          <a:xfrm>
            <a:off x="485961" y="4988826"/>
            <a:ext cx="8170476" cy="22677"/>
          </a:xfrm>
          <a:custGeom>
            <a:avLst/>
            <a:gdLst/>
            <a:ahLst/>
            <a:cxnLst/>
            <a:rect l="0" t="0" r="0" b="0"/>
            <a:pathLst>
              <a:path w="80073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186" tIns="121071" rIns="93186" bIns="12107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377" indent="-195760" defTabSz="912459" fontAlgn="base">
              <a:spcBef>
                <a:spcPct val="50000"/>
              </a:spcBef>
              <a:spcAft>
                <a:spcPct val="50000"/>
              </a:spcAft>
              <a:buClr>
                <a:srgbClr val="000000"/>
              </a:buClr>
              <a:buSzPct val="125000"/>
              <a:buFont typeface="Arial" charset="0"/>
              <a:buChar char="▪"/>
            </a:pPr>
            <a:endParaRPr lang="en-GB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60" name="Freeform 10359"/>
          <p:cNvSpPr/>
          <p:nvPr>
            <p:custDataLst>
              <p:tags r:id="rId12"/>
            </p:custDataLst>
          </p:nvPr>
        </p:nvSpPr>
        <p:spPr bwMode="auto">
          <a:xfrm>
            <a:off x="485961" y="4930515"/>
            <a:ext cx="8170476" cy="22677"/>
          </a:xfrm>
          <a:custGeom>
            <a:avLst/>
            <a:gdLst/>
            <a:ahLst/>
            <a:cxnLst/>
            <a:rect l="0" t="0" r="0" b="0"/>
            <a:pathLst>
              <a:path w="80073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186" tIns="121071" rIns="93186" bIns="12107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377" indent="-195760" defTabSz="912459" fontAlgn="base">
              <a:spcBef>
                <a:spcPct val="50000"/>
              </a:spcBef>
              <a:spcAft>
                <a:spcPct val="50000"/>
              </a:spcAft>
              <a:buClr>
                <a:srgbClr val="000000"/>
              </a:buClr>
              <a:buSzPct val="125000"/>
              <a:buFont typeface="Arial" charset="0"/>
              <a:buChar char="▪"/>
            </a:pPr>
            <a:endParaRPr lang="en-GB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73" name="Rectangle 4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836288" y="2930119"/>
            <a:ext cx="396861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FC2F38F4-8287-46D1-A1B2-2FF03C778D74}" type="datetime'''''''''''''''''''''8''''''''''''''6''.''''''''''''8''''''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6.8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74" name="Rectangle 4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238564" y="5492555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Apr.</a:t>
            </a:r>
            <a:b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2012</a:t>
            </a:r>
          </a:p>
        </p:txBody>
      </p:sp>
      <p:sp>
        <p:nvSpPr>
          <p:cNvPr id="10272" name="Rectangle 4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826578" y="5492555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May </a:t>
            </a:r>
            <a:b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2012</a:t>
            </a:r>
          </a:p>
        </p:txBody>
      </p:sp>
      <p:sp>
        <p:nvSpPr>
          <p:cNvPr id="10270" name="Rectangle 28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414568" y="5492555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Sep.</a:t>
            </a:r>
          </a:p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>
                <a:solidFill>
                  <a:srgbClr val="000000"/>
                </a:solidFill>
                <a:latin typeface="Arial" charset="0"/>
                <a:cs typeface="Arial" charset="0"/>
              </a:rPr>
              <a:t>2012</a:t>
            </a:r>
            <a:endParaRPr lang="en-US" sz="1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71" name="Rectangle 28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424288" y="2735750"/>
            <a:ext cx="3968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81016CD-9D42-4C62-9CFF-30758952ED50}" type="datetime'''''''8''7''''.''''9''''''''''''''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7.9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69" name="Rectangle 286"/>
          <p:cNvSpPr>
            <a:spLocks noGrp="1" noChangeArrowheads="1"/>
          </p:cNvSpPr>
          <p:nvPr>
            <p:ph type="body" idx="4294967295"/>
            <p:custDataLst>
              <p:tags r:id="rId18"/>
            </p:custDataLst>
          </p:nvPr>
        </p:nvSpPr>
        <p:spPr>
          <a:xfrm>
            <a:off x="7012290" y="2648291"/>
            <a:ext cx="396861" cy="2170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22653" tIns="0" rIns="22653" bIns="0" anchor="b"/>
          <a:lstStyle/>
          <a:p>
            <a:pPr algn="ctr"/>
            <a:fld id="{FB54E633-9934-4654-838A-0C062D79D00B}" type="datetime'''''''88''''''''''''''.''''''''''''''4'">
              <a:rPr lang="en-US" sz="1400">
                <a:cs typeface="Arial"/>
              </a:rPr>
              <a:pPr/>
              <a:t>88.4</a:t>
            </a:fld>
            <a:endParaRPr lang="en-US" sz="1400">
              <a:cs typeface="Arial"/>
            </a:endParaRPr>
          </a:p>
        </p:txBody>
      </p:sp>
      <p:sp>
        <p:nvSpPr>
          <p:cNvPr id="10256" name="Rectangle 113"/>
          <p:cNvSpPr>
            <a:spLocks noGrp="1" noChangeArrowheads="1"/>
          </p:cNvSpPr>
          <p:nvPr>
            <p:ph type="body" idx="4294967295"/>
            <p:custDataLst>
              <p:tags r:id="rId19"/>
            </p:custDataLst>
          </p:nvPr>
        </p:nvSpPr>
        <p:spPr>
          <a:xfrm>
            <a:off x="7600292" y="2492788"/>
            <a:ext cx="396860" cy="217046"/>
          </a:xfrm>
          <a:prstGeom prst="rect">
            <a:avLst/>
          </a:prstGeom>
          <a:noFill/>
        </p:spPr>
        <p:txBody>
          <a:bodyPr wrap="none" lIns="22653" tIns="0" rIns="22653" bIns="0" anchor="b"/>
          <a:lstStyle/>
          <a:p>
            <a:pPr algn="ctr"/>
            <a:fld id="{E8CD5F6C-9FB0-4417-80A3-9BE36A673D4F}" type="datetime'8''''''''''9''''''''''''.''3'''''">
              <a:rPr lang="en-US" sz="1400">
                <a:cs typeface="Arial"/>
              </a:rPr>
              <a:pPr/>
              <a:t>89.3</a:t>
            </a:fld>
            <a:endParaRPr lang="en-US" sz="1400">
              <a:cs typeface="Arial"/>
            </a:endParaRPr>
          </a:p>
        </p:txBody>
      </p:sp>
      <p:sp>
        <p:nvSpPr>
          <p:cNvPr id="10255" name="Rectangle 109"/>
          <p:cNvSpPr>
            <a:spLocks noGrp="1" noChangeArrowheads="1"/>
          </p:cNvSpPr>
          <p:nvPr>
            <p:ph type="body" idx="4294967295"/>
            <p:custDataLst>
              <p:tags r:id="rId20"/>
            </p:custDataLst>
          </p:nvPr>
        </p:nvSpPr>
        <p:spPr>
          <a:xfrm>
            <a:off x="7590584" y="5492555"/>
            <a:ext cx="414679" cy="434092"/>
          </a:xfrm>
          <a:prstGeom prst="rect">
            <a:avLst/>
          </a:prstGeom>
          <a:noFill/>
        </p:spPr>
        <p:txBody>
          <a:bodyPr wrap="square" lIns="0" tIns="0" rIns="0" bIns="0"/>
          <a:lstStyle/>
          <a:p>
            <a:pPr algn="ctr"/>
            <a:r>
              <a:rPr lang="en-US" sz="1400">
                <a:cs typeface="Arial" charset="0"/>
              </a:rPr>
              <a:t>Nov.</a:t>
            </a:r>
          </a:p>
          <a:p>
            <a:pPr algn="ctr"/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10253" name="Rectangle 223"/>
          <p:cNvSpPr>
            <a:spLocks noGrp="1" noChangeArrowheads="1"/>
          </p:cNvSpPr>
          <p:nvPr>
            <p:ph type="body" idx="4294967295"/>
            <p:custDataLst>
              <p:tags r:id="rId21"/>
            </p:custDataLst>
          </p:nvPr>
        </p:nvSpPr>
        <p:spPr>
          <a:xfrm>
            <a:off x="8178575" y="5492555"/>
            <a:ext cx="414679" cy="434092"/>
          </a:xfrm>
          <a:prstGeom prst="rect">
            <a:avLst/>
          </a:prstGeom>
          <a:noFill/>
        </p:spPr>
        <p:txBody>
          <a:bodyPr wrap="square" lIns="0" tIns="0" rIns="0" bIns="0"/>
          <a:lstStyle/>
          <a:p>
            <a:pPr algn="ctr"/>
            <a:r>
              <a:rPr lang="en-US" sz="1400">
                <a:cs typeface="Arial" charset="0"/>
              </a:rPr>
              <a:t>Dec.</a:t>
            </a:r>
          </a:p>
          <a:p>
            <a:pPr algn="ctr"/>
            <a:r>
              <a:rPr lang="en-US" sz="1400">
                <a:cs typeface="Arial" charset="0"/>
              </a:rPr>
              <a:t>2012</a:t>
            </a:r>
          </a:p>
        </p:txBody>
      </p:sp>
      <p:sp>
        <p:nvSpPr>
          <p:cNvPr id="10257" name="Rectangle 286"/>
          <p:cNvSpPr>
            <a:spLocks noGrp="1" noChangeArrowheads="1"/>
          </p:cNvSpPr>
          <p:nvPr>
            <p:ph type="body" idx="4294967295"/>
            <p:custDataLst>
              <p:tags r:id="rId22"/>
            </p:custDataLst>
          </p:nvPr>
        </p:nvSpPr>
        <p:spPr>
          <a:xfrm>
            <a:off x="7002572" y="5492555"/>
            <a:ext cx="414679" cy="43409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ctr"/>
            <a:r>
              <a:rPr lang="en-US" sz="1400">
                <a:cs typeface="Arial" charset="0"/>
              </a:rPr>
              <a:t>Oct. </a:t>
            </a:r>
          </a:p>
          <a:p>
            <a:pPr algn="ctr"/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10254" name="Rectangle 224"/>
          <p:cNvSpPr>
            <a:spLocks noGrp="1" noChangeArrowheads="1"/>
          </p:cNvSpPr>
          <p:nvPr>
            <p:ph type="body" idx="4294967295"/>
            <p:custDataLst>
              <p:tags r:id="rId23"/>
            </p:custDataLst>
          </p:nvPr>
        </p:nvSpPr>
        <p:spPr>
          <a:xfrm>
            <a:off x="8188294" y="1997146"/>
            <a:ext cx="396861" cy="217046"/>
          </a:xfrm>
          <a:prstGeom prst="rect">
            <a:avLst/>
          </a:prstGeom>
          <a:noFill/>
        </p:spPr>
        <p:txBody>
          <a:bodyPr wrap="none" lIns="22653" tIns="0" rIns="22653" bIns="0" anchor="b"/>
          <a:lstStyle/>
          <a:p>
            <a:pPr algn="ctr"/>
            <a:fld id="{86CB0327-35FD-4E28-B95E-11700B09522C}" type="datetime'9''2''''''''''.1'''''''''''''''''''''''">
              <a:rPr lang="en-US" sz="1400">
                <a:cs typeface="Arial"/>
              </a:rPr>
              <a:pPr/>
              <a:t>92.1</a:t>
            </a:fld>
            <a:endParaRPr lang="en-US" sz="1400">
              <a:cs typeface="Arial"/>
            </a:endParaRPr>
          </a:p>
        </p:txBody>
      </p:sp>
      <p:sp useBgFill="1">
        <p:nvSpPr>
          <p:cNvPr id="10264" name="Rectangle 55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720271" y="3542383"/>
            <a:ext cx="396860" cy="217046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349771C-0183-4581-9680-0D93188CCE66}" type="datetime'''''''''''''''''''''''8''''''''''''''''''''3''.''''''''''''3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3.3</a:t>
            </a:fld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5" name="Rectangle 5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129030" y="5492568"/>
            <a:ext cx="401720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>
                <a:solidFill>
                  <a:srgbClr val="000000"/>
                </a:solidFill>
                <a:latin typeface="Arial" charset="0"/>
              </a:rPr>
              <a:t>Sep. 2011</a:t>
            </a:r>
            <a:br>
              <a:rPr lang="en-GB" sz="1400">
                <a:solidFill>
                  <a:srgbClr val="000000"/>
                </a:solidFill>
                <a:latin typeface="Arial" charset="0"/>
              </a:rPr>
            </a:br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6" name="Rectangle 57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1132269" y="4310142"/>
            <a:ext cx="396861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DD94239-2248-42EA-B641-13D4C8CB8E16}" type="datetime'''''''''''7''''''''9''''''''.''''''''''''''''''''''''''''0''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9.0</a:t>
            </a:fld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7" name="Rectangle 58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88762" y="5492558"/>
            <a:ext cx="70787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B22A13A-6DF5-43C4-AB78-342AE71A996E}" type="datetime'''''Ba''''''''''''''''seli''''''''''''''n''''''''''''e''''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Baseline</a:t>
            </a:fld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8" name="Rectangle 59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544267" y="3629849"/>
            <a:ext cx="3968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CDB6A9F-BE72-4011-8A77-CD1EC5FB8BD4}" type="datetime'''''''''8''''''''''''''''2''''.8''''''''''''''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2.8</a:t>
            </a:fld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75" name="Rectangle 44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5248292" y="3173081"/>
            <a:ext cx="3968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1968C18-0426-45E8-94EE-4132AB1C2F62}" type="datetime'8''''''''''''''''''''5''''''''''''''''''''''''''.''4''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5.4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76" name="Rectangle 4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650574" y="5492555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Mar. 2012</a:t>
            </a:r>
          </a:p>
        </p:txBody>
      </p:sp>
      <p:sp>
        <p:nvSpPr>
          <p:cNvPr id="10277" name="Rectangle 47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660293" y="3017597"/>
            <a:ext cx="396861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8195C67-B758-4120-BA68-603A37530AAC}" type="datetime'''''''''''''''''''8''6''''''''''''''.3''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6.3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78" name="Rectangle 48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062560" y="5492555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 dirty="0">
                <a:solidFill>
                  <a:srgbClr val="000000"/>
                </a:solidFill>
                <a:latin typeface="Arial" charset="0"/>
                <a:cs typeface="Arial" charset="0"/>
              </a:rPr>
              <a:t>Feb.</a:t>
            </a:r>
            <a:br>
              <a:rPr lang="en-GB" sz="14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GB" sz="1400" dirty="0">
                <a:solidFill>
                  <a:srgbClr val="000000"/>
                </a:solidFill>
                <a:latin typeface="Arial" charset="0"/>
                <a:cs typeface="Arial" charset="0"/>
              </a:rPr>
              <a:t>2012</a:t>
            </a:r>
            <a:endParaRPr lang="en-US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79" name="Rectangle 4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072291" y="2949556"/>
            <a:ext cx="3968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436E3757-6DCF-4B29-9A5E-BF3B310E5EF9}" type="datetime'''''''''''8''''''''''''6''''''''''''''.''''''''''''''''''7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6.7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80" name="Rectangle 41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3474558" y="5492555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 dirty="0">
                <a:solidFill>
                  <a:srgbClr val="000000"/>
                </a:solidFill>
                <a:latin typeface="Arial" charset="0"/>
                <a:cs typeface="Arial" charset="0"/>
              </a:rPr>
              <a:t>Jan.</a:t>
            </a:r>
            <a:br>
              <a:rPr lang="en-GB" sz="14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GB" sz="1400" dirty="0">
                <a:solidFill>
                  <a:srgbClr val="000000"/>
                </a:solidFill>
                <a:latin typeface="Arial" charset="0"/>
                <a:cs typeface="Arial" charset="0"/>
              </a:rPr>
              <a:t>2012</a:t>
            </a:r>
            <a:endParaRPr lang="en-US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58" name="Rectangle 5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484289" y="2842653"/>
            <a:ext cx="396861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4954FD5-90ED-4B5C-8E7B-68C6CDC721F2}" type="datetime'8''''''''''7''''.''''''''''''''''''3''''''''''''''''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7.3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59" name="Rectangle 51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2893035" y="5492555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latin typeface="Arial" charset="0"/>
                <a:cs typeface="Arial" charset="0"/>
              </a:rPr>
              <a:t>Dec. 2011</a:t>
            </a:r>
          </a:p>
        </p:txBody>
      </p:sp>
      <p:sp>
        <p:nvSpPr>
          <p:cNvPr id="10260" name="Rectangle 5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2896275" y="2871820"/>
            <a:ext cx="3968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181A5D7-06E1-47C2-B33F-027BE0598E46}" type="datetime'''''''8''''7''.''''''1'''''">
              <a:rPr lang="en-US" sz="1400">
                <a:solidFill>
                  <a:srgbClr val="000000"/>
                </a:solidFill>
                <a:latin typeface="Arial" charset="0"/>
                <a:cs typeface="Arial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7.1</a:t>
            </a:fld>
            <a:endParaRPr lang="en-US" sz="14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261" name="Rectangle 53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2298554" y="5492568"/>
            <a:ext cx="414679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376857C-EE46-47E2-86D4-41A245C365F6}" type="datetime'''''''''No''''''v''''''''''''''''''''''''. ''''''''''2''011''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Nov. 2011</a:t>
            </a:fld>
            <a:endParaRPr lang="en-GB" sz="1400">
              <a:solidFill>
                <a:srgbClr val="000000"/>
              </a:solidFill>
              <a:latin typeface="Arial" charset="0"/>
            </a:endParaRPr>
          </a:p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 useBgFill="1">
        <p:nvSpPr>
          <p:cNvPr id="10262" name="Rectangle 54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2308273" y="3561820"/>
            <a:ext cx="396861" cy="217046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53" tIns="0" rIns="22653" bIns="0" anchor="b"/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24C0017-605C-462C-BA01-5EBB2A26FB69}" type="datetime'''''''8''''''''''''3''''''.''''''''2''''''''''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3.2</a:t>
            </a:fld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3" name="Rectangle 4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1710563" y="5492568"/>
            <a:ext cx="414679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45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5E39D0D-8C05-4E4C-9291-0409E4215ACD}" type="datetime'Oc''t.'''' ''2''''''''''''0''''''''''1''1'''''''">
              <a:rPr lang="en-US" sz="1400">
                <a:solidFill>
                  <a:srgbClr val="000000"/>
                </a:solidFill>
                <a:latin typeface="Arial" charset="0"/>
              </a:rPr>
              <a:pPr algn="ct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Oct. 2011</a:t>
            </a:fld>
            <a:r>
              <a:rPr lang="en-GB" sz="1400">
                <a:solidFill>
                  <a:srgbClr val="000000"/>
                </a:solidFill>
                <a:latin typeface="Arial" charset="0"/>
              </a:rPr>
              <a:t/>
            </a:r>
            <a:br>
              <a:rPr lang="en-GB" sz="1400">
                <a:solidFill>
                  <a:srgbClr val="000000"/>
                </a:solidFill>
                <a:latin typeface="Arial" charset="0"/>
              </a:rPr>
            </a:br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281" name="Group 60"/>
          <p:cNvGrpSpPr>
            <a:grpSpLocks/>
          </p:cNvGrpSpPr>
          <p:nvPr>
            <p:custDataLst>
              <p:tags r:id="rId41"/>
            </p:custDataLst>
          </p:nvPr>
        </p:nvGrpSpPr>
        <p:grpSpPr bwMode="auto">
          <a:xfrm>
            <a:off x="6391902" y="1681561"/>
            <a:ext cx="2292075" cy="220285"/>
            <a:chOff x="3870" y="770"/>
            <a:chExt cx="1415" cy="136"/>
          </a:xfrm>
        </p:grpSpPr>
        <p:sp>
          <p:nvSpPr>
            <p:cNvPr id="10288" name="Line 61"/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gray">
            <a:xfrm>
              <a:off x="3870" y="844"/>
              <a:ext cx="501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931977" fontAlgn="base"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</a:pPr>
              <a:endParaRPr lang="en-GB" sz="20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89" name="McK 3. Unit of measure"/>
            <p:cNvSpPr txBox="1"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4473" y="770"/>
              <a:ext cx="812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GB" sz="1400">
                  <a:solidFill>
                    <a:srgbClr val="808080"/>
                  </a:solidFill>
                </a:rPr>
                <a:t>Target trajectory</a:t>
              </a:r>
            </a:p>
          </p:txBody>
        </p:sp>
      </p:grpSp>
      <p:sp>
        <p:nvSpPr>
          <p:cNvPr id="10284" name="McK 5. Source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9654" y="6684688"/>
            <a:ext cx="700257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250" indent="-621250" defTabSz="912459" fontAlgn="base">
              <a:spcBef>
                <a:spcPct val="0"/>
              </a:spcBef>
              <a:spcAft>
                <a:spcPct val="0"/>
              </a:spcAft>
              <a:tabLst>
                <a:tab pos="624485" algn="l"/>
              </a:tabLst>
            </a:pPr>
            <a:r>
              <a:rPr lang="en-GB" sz="800">
                <a:solidFill>
                  <a:srgbClr val="000000"/>
                </a:solidFill>
                <a:latin typeface="Arial" charset="0"/>
              </a:rPr>
              <a:t>SOURCE: PMIU</a:t>
            </a:r>
          </a:p>
        </p:txBody>
      </p:sp>
      <p:grpSp>
        <p:nvGrpSpPr>
          <p:cNvPr id="140" name="Group 139"/>
          <p:cNvGrpSpPr/>
          <p:nvPr>
            <p:custDataLst>
              <p:tags r:id="rId43"/>
            </p:custDataLst>
          </p:nvPr>
        </p:nvGrpSpPr>
        <p:grpSpPr>
          <a:xfrm>
            <a:off x="3377197" y="6074044"/>
            <a:ext cx="2389608" cy="458388"/>
            <a:chOff x="2455864" y="5953125"/>
            <a:chExt cx="2101850" cy="449263"/>
          </a:xfrm>
        </p:grpSpPr>
        <p:sp>
          <p:nvSpPr>
            <p:cNvPr id="141" name="Rectangle 6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2455864" y="5953125"/>
              <a:ext cx="2101850" cy="449263"/>
            </a:xfrm>
            <a:prstGeom prst="rect">
              <a:avLst/>
            </a:prstGeom>
            <a:solidFill>
              <a:schemeClr val="folHlink"/>
            </a:solidFill>
            <a:ln w="1905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197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66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2544758" y="6069242"/>
              <a:ext cx="149046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400" b="1" dirty="0">
                  <a:solidFill>
                    <a:srgbClr val="FFFFFF"/>
                  </a:solidFill>
                  <a:latin typeface="Arial" charset="0"/>
                </a:rPr>
                <a:t>March 2013 target:</a:t>
              </a:r>
            </a:p>
          </p:txBody>
        </p:sp>
        <p:sp>
          <p:nvSpPr>
            <p:cNvPr id="143" name="Rectangle 67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3946327" y="6069013"/>
              <a:ext cx="522073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r" defTabSz="91245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400" b="1" dirty="0">
                  <a:solidFill>
                    <a:srgbClr val="FFFFFF"/>
                  </a:solidFill>
                  <a:latin typeface="Arial" charset="0"/>
                </a:rPr>
                <a:t>90%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4748097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2391720"/>
            <a:ext cx="860807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A further 1,000,000 children attending school everyday since the </a:t>
            </a:r>
            <a:r>
              <a:rPr lang="en-US" sz="4000" b="1" dirty="0">
                <a:solidFill>
                  <a:srgbClr val="F2F2F2"/>
                </a:solidFill>
                <a:latin typeface="Gill Sans"/>
                <a:cs typeface="Gill Sans"/>
              </a:rPr>
              <a:t>R</a:t>
            </a:r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oadmap began 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5214852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142498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Slide" r:id="rId252" imgW="270" imgH="270" progId="TCLayout.ActiveDocument.1">
                  <p:embed/>
                </p:oleObj>
              </mc:Choice>
              <mc:Fallback>
                <p:oleObj name="think-cell Slide" r:id="rId25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4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0242" name="Slide Number Placeholder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>
            <a:lvl1pPr defTabSz="93065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7469" indent="-291335" defTabSz="9306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5338" indent="-233069" defTabSz="93065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31473" indent="-233069" defTabSz="93065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7608" indent="-233069" defTabSz="93065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3744" indent="-233069" defTabSz="93065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029879" indent="-233069" defTabSz="93065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6013" indent="-233069" defTabSz="93065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962148" indent="-233069" defTabSz="93065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C17EFD-2651-4DF9-901F-A65EEAEED93A}" type="slidenum">
              <a:rPr lang="en-GB" sz="1000">
                <a:solidFill>
                  <a:srgbClr val="898989"/>
                </a:solidFill>
                <a:latin typeface="Calibri" pitchFamily="34" charset="0"/>
              </a:rPr>
              <a:pPr eaLnBrk="1" hangingPunct="1"/>
              <a:t>26</a:t>
            </a:fld>
            <a:endParaRPr lang="en-GB" sz="10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0245" name="Slide Number Placeholder 1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76653" y="6606948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16" tIns="46610" rIns="93216" bIns="46610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161735F-518F-482B-92F4-DE148CBFEEA7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6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248" name="Rectangle 8"/>
          <p:cNvSpPr>
            <a:spLocks noGrp="1" noChangeArrowheads="1"/>
          </p:cNvSpPr>
          <p:nvPr>
            <p:ph type="title" idx="4294967295"/>
            <p:custDataLst>
              <p:tags r:id="rId7"/>
            </p:custDataLst>
          </p:nvPr>
        </p:nvSpPr>
        <p:spPr bwMode="gray">
          <a:xfrm>
            <a:off x="121488" y="234863"/>
            <a:ext cx="8847621" cy="376834"/>
          </a:xfrm>
        </p:spPr>
        <p:txBody>
          <a:bodyPr/>
          <a:lstStyle/>
          <a:p>
            <a:r>
              <a:rPr lang="en-US" sz="2400" dirty="0"/>
              <a:t>32 districts are on or above trajectory</a:t>
            </a:r>
            <a:endParaRPr lang="en-GB" sz="2400" dirty="0"/>
          </a:p>
        </p:txBody>
      </p:sp>
      <p:sp>
        <p:nvSpPr>
          <p:cNvPr id="10282" name="McK 1. On-page tracker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21495" y="27537"/>
            <a:ext cx="2334379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1400" dirty="0">
                <a:solidFill>
                  <a:srgbClr val="808080"/>
                </a:solidFill>
              </a:rPr>
              <a:t>1. STUDENT ATTENDANCE</a:t>
            </a:r>
          </a:p>
        </p:txBody>
      </p:sp>
      <p:sp>
        <p:nvSpPr>
          <p:cNvPr id="10284" name="McK 5. Source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9654" y="6684688"/>
            <a:ext cx="700257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514" indent="-621514" defTabSz="912847">
              <a:spcBef>
                <a:spcPct val="0"/>
              </a:spcBef>
              <a:spcAft>
                <a:spcPct val="0"/>
              </a:spcAft>
              <a:tabLst>
                <a:tab pos="624750" algn="l"/>
              </a:tabLst>
            </a:pPr>
            <a:r>
              <a:rPr lang="en-GB" sz="800">
                <a:solidFill>
                  <a:srgbClr val="000000"/>
                </a:solidFill>
              </a:rPr>
              <a:t>SOURCE: PMIU</a:t>
            </a:r>
          </a:p>
        </p:txBody>
      </p:sp>
      <p:sp>
        <p:nvSpPr>
          <p:cNvPr id="53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21494" y="615503"/>
            <a:ext cx="4389768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defTabSz="912847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>
                <a:solidFill>
                  <a:srgbClr val="000000"/>
                </a:solidFill>
              </a:rPr>
              <a:t>Dec 2012 – student attendance vs. trajectories</a:t>
            </a:r>
          </a:p>
        </p:txBody>
      </p:sp>
      <p:sp>
        <p:nvSpPr>
          <p:cNvPr id="58" name="Rectangle 1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19868" y="866565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b="1">
                <a:solidFill>
                  <a:srgbClr val="000000"/>
                </a:solidFill>
              </a:rPr>
              <a:t>District</a:t>
            </a:r>
          </a:p>
        </p:txBody>
      </p:sp>
      <p:sp>
        <p:nvSpPr>
          <p:cNvPr id="59" name="Rectangle 1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320170" y="866565"/>
            <a:ext cx="71273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b="1">
                <a:solidFill>
                  <a:srgbClr val="000000"/>
                </a:solidFill>
              </a:rPr>
              <a:t>Performance</a:t>
            </a:r>
          </a:p>
        </p:txBody>
      </p:sp>
      <p:sp>
        <p:nvSpPr>
          <p:cNvPr id="60" name="Rectangle 1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90024" y="866565"/>
            <a:ext cx="356365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b="1">
                <a:solidFill>
                  <a:srgbClr val="000000"/>
                </a:solidFill>
              </a:rPr>
              <a:t>Target</a:t>
            </a:r>
          </a:p>
        </p:txBody>
      </p:sp>
      <p:sp>
        <p:nvSpPr>
          <p:cNvPr id="61" name="Rectangle 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693803" y="866565"/>
            <a:ext cx="1368765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912847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800" b="1">
                <a:solidFill>
                  <a:srgbClr val="000000"/>
                </a:solidFill>
              </a:rPr>
              <a:t>Delta</a:t>
            </a:r>
          </a:p>
        </p:txBody>
      </p:sp>
      <p:sp>
        <p:nvSpPr>
          <p:cNvPr id="62" name="Line 20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>
            <a:off x="2693795" y="1004242"/>
            <a:ext cx="17105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 anchor="ctr">
            <a:spAutoFit/>
          </a:bodyPr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Line 21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2190024" y="1004242"/>
            <a:ext cx="35636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 anchor="ctr">
            <a:spAutoFit/>
          </a:bodyPr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Line 22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1320170" y="1004242"/>
            <a:ext cx="71273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 anchor="ctr">
            <a:spAutoFit/>
          </a:bodyPr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Line 23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119868" y="1004242"/>
            <a:ext cx="104317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 anchor="ctr">
            <a:spAutoFit/>
          </a:bodyPr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Rectangle 24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19868" y="1028538"/>
            <a:ext cx="1043177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b="1">
                <a:solidFill>
                  <a:srgbClr val="00B050"/>
                </a:solidFill>
              </a:rPr>
              <a:t>Green</a:t>
            </a:r>
          </a:p>
        </p:txBody>
      </p:sp>
      <p:sp>
        <p:nvSpPr>
          <p:cNvPr id="67" name="Rectangle 25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19868" y="1161365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Nankana Sahib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68" name="Rectangle 2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19868" y="1446440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Gujrat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69" name="Rectangle 27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19868" y="1733135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Sargodha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0" name="Rectangle 28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19868" y="1875665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Faisalabad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1" name="Rectangle 29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19868" y="2162364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T.T. Singh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2" name="Rectangle 30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19868" y="2449062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Jhang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3" name="Rectangle 31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119868" y="2591592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Rawalpindi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4" name="Rectangle 3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19868" y="2878287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Sheikhupura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5" name="Rectangle 33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19868" y="3020832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Lahore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6" name="Rectangle 34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19868" y="3307527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Okara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7" name="Rectangle 35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19868" y="3450057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Multan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8" name="Rectangle 3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19868" y="3736753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Khanewal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79" name="Rectangle 37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19868" y="4021827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Bahawalpur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0" name="Rectangle 38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19868" y="4165984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Chakwal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1" name="Rectangle 39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119868" y="4308526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Chiniot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2" name="Rectangle 4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19868" y="4595224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Hafizabad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3" name="Rectangle 41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119868" y="4880297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Sahiwal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4" name="Rectangle 4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19868" y="5166994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Kasur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5" name="Rectangle 43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119868" y="5453689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Narowal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6" name="Rectangle 44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119868" y="4737754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Lodhran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7" name="Rectangle 4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119868" y="5024449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Muzaffargarh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8" name="Rectangle 46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119868" y="5309524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Rahimyar Khan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89" name="Rectangle 47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119868" y="5596219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Mianwali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0" name="Rectangle 48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119868" y="5738764"/>
            <a:ext cx="1043177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b="1">
                <a:solidFill>
                  <a:srgbClr val="76933C"/>
                </a:solidFill>
              </a:rPr>
              <a:t>Amber Green</a:t>
            </a:r>
          </a:p>
        </p:txBody>
      </p:sp>
      <p:sp>
        <p:nvSpPr>
          <p:cNvPr id="91" name="Rectangle 49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119868" y="5882915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Gujranwala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2" name="Rectangle 50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119868" y="6025459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Layyah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3" name="Rectangle 51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19868" y="6167989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Bhakkar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4" name="Rectangle 52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119868" y="6457923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Rajanpur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5" name="Rectangle 53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119868" y="1303895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Bahawalnagar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6" name="Rectangle 54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119868" y="1590593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Jhelum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7" name="Rectangle 55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119868" y="2019822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Pakpattan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8" name="Rectangle 56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119868" y="2304897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D.G. Khan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99" name="Rectangle 57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119868" y="2734137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Mandi Baha Ud Din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00" name="Rectangle 58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119868" y="3163362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Khushab 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01" name="Rectangle 59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119868" y="3592602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Sialkot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02" name="Rectangle 60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119868" y="3879297"/>
            <a:ext cx="1043177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Attock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03" name="Rectangle 61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119868" y="4451059"/>
            <a:ext cx="104317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Vehari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04" name="Line 62"/>
          <p:cNvSpPr>
            <a:spLocks noChangeShapeType="1"/>
          </p:cNvSpPr>
          <p:nvPr>
            <p:custDataLst>
              <p:tags r:id="rId57"/>
            </p:custDataLst>
          </p:nvPr>
        </p:nvSpPr>
        <p:spPr bwMode="gray">
          <a:xfrm>
            <a:off x="119876" y="1295796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5" name="Line 63"/>
          <p:cNvSpPr>
            <a:spLocks noChangeShapeType="1"/>
          </p:cNvSpPr>
          <p:nvPr>
            <p:custDataLst>
              <p:tags r:id="rId58"/>
            </p:custDataLst>
          </p:nvPr>
        </p:nvSpPr>
        <p:spPr bwMode="gray">
          <a:xfrm>
            <a:off x="119876" y="1438333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6" name="Line 64"/>
          <p:cNvSpPr>
            <a:spLocks noChangeShapeType="1"/>
          </p:cNvSpPr>
          <p:nvPr>
            <p:custDataLst>
              <p:tags r:id="rId59"/>
            </p:custDataLst>
          </p:nvPr>
        </p:nvSpPr>
        <p:spPr bwMode="gray">
          <a:xfrm>
            <a:off x="119876" y="1582491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7" name="Line 65"/>
          <p:cNvSpPr>
            <a:spLocks noChangeShapeType="1"/>
          </p:cNvSpPr>
          <p:nvPr>
            <p:custDataLst>
              <p:tags r:id="rId60"/>
            </p:custDataLst>
          </p:nvPr>
        </p:nvSpPr>
        <p:spPr bwMode="gray">
          <a:xfrm>
            <a:off x="119876" y="1725029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8" name="Line 66"/>
          <p:cNvSpPr>
            <a:spLocks noChangeShapeType="1"/>
          </p:cNvSpPr>
          <p:nvPr>
            <p:custDataLst>
              <p:tags r:id="rId61"/>
            </p:custDataLst>
          </p:nvPr>
        </p:nvSpPr>
        <p:spPr bwMode="gray">
          <a:xfrm>
            <a:off x="119876" y="2011723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9" name="Line 67"/>
          <p:cNvSpPr>
            <a:spLocks noChangeShapeType="1"/>
          </p:cNvSpPr>
          <p:nvPr>
            <p:custDataLst>
              <p:tags r:id="rId62"/>
            </p:custDataLst>
          </p:nvPr>
        </p:nvSpPr>
        <p:spPr bwMode="gray">
          <a:xfrm>
            <a:off x="119876" y="1869186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0" name="Line 68"/>
          <p:cNvSpPr>
            <a:spLocks noChangeShapeType="1"/>
          </p:cNvSpPr>
          <p:nvPr>
            <p:custDataLst>
              <p:tags r:id="rId63"/>
            </p:custDataLst>
          </p:nvPr>
        </p:nvSpPr>
        <p:spPr bwMode="gray">
          <a:xfrm>
            <a:off x="119876" y="2154261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1" name="Line 69"/>
          <p:cNvSpPr>
            <a:spLocks noChangeShapeType="1"/>
          </p:cNvSpPr>
          <p:nvPr>
            <p:custDataLst>
              <p:tags r:id="rId64"/>
            </p:custDataLst>
          </p:nvPr>
        </p:nvSpPr>
        <p:spPr bwMode="gray">
          <a:xfrm>
            <a:off x="119876" y="2298419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2" name="Line 70"/>
          <p:cNvSpPr>
            <a:spLocks noChangeShapeType="1"/>
          </p:cNvSpPr>
          <p:nvPr>
            <p:custDataLst>
              <p:tags r:id="rId65"/>
            </p:custDataLst>
          </p:nvPr>
        </p:nvSpPr>
        <p:spPr bwMode="gray">
          <a:xfrm>
            <a:off x="119876" y="2440956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3" name="Line 71"/>
          <p:cNvSpPr>
            <a:spLocks noChangeShapeType="1"/>
          </p:cNvSpPr>
          <p:nvPr>
            <p:custDataLst>
              <p:tags r:id="rId66"/>
            </p:custDataLst>
          </p:nvPr>
        </p:nvSpPr>
        <p:spPr bwMode="gray">
          <a:xfrm>
            <a:off x="119876" y="2585113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4" name="Line 72"/>
          <p:cNvSpPr>
            <a:spLocks noChangeShapeType="1"/>
          </p:cNvSpPr>
          <p:nvPr>
            <p:custDataLst>
              <p:tags r:id="rId67"/>
            </p:custDataLst>
          </p:nvPr>
        </p:nvSpPr>
        <p:spPr bwMode="gray">
          <a:xfrm>
            <a:off x="119876" y="2727650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5" name="Line 73"/>
          <p:cNvSpPr>
            <a:spLocks noChangeShapeType="1"/>
          </p:cNvSpPr>
          <p:nvPr>
            <p:custDataLst>
              <p:tags r:id="rId68"/>
            </p:custDataLst>
          </p:nvPr>
        </p:nvSpPr>
        <p:spPr bwMode="gray">
          <a:xfrm>
            <a:off x="119876" y="2871808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6" name="Line 74"/>
          <p:cNvSpPr>
            <a:spLocks noChangeShapeType="1"/>
          </p:cNvSpPr>
          <p:nvPr>
            <p:custDataLst>
              <p:tags r:id="rId69"/>
            </p:custDataLst>
          </p:nvPr>
        </p:nvSpPr>
        <p:spPr bwMode="gray">
          <a:xfrm>
            <a:off x="119876" y="3014346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7" name="Line 75"/>
          <p:cNvSpPr>
            <a:spLocks noChangeShapeType="1"/>
          </p:cNvSpPr>
          <p:nvPr>
            <p:custDataLst>
              <p:tags r:id="rId70"/>
            </p:custDataLst>
          </p:nvPr>
        </p:nvSpPr>
        <p:spPr bwMode="gray">
          <a:xfrm>
            <a:off x="119876" y="3156883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8" name="Line 76"/>
          <p:cNvSpPr>
            <a:spLocks noChangeShapeType="1"/>
          </p:cNvSpPr>
          <p:nvPr>
            <p:custDataLst>
              <p:tags r:id="rId71"/>
            </p:custDataLst>
          </p:nvPr>
        </p:nvSpPr>
        <p:spPr bwMode="gray">
          <a:xfrm>
            <a:off x="119876" y="3301040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19" name="Line 77"/>
          <p:cNvSpPr>
            <a:spLocks noChangeShapeType="1"/>
          </p:cNvSpPr>
          <p:nvPr>
            <p:custDataLst>
              <p:tags r:id="rId72"/>
            </p:custDataLst>
          </p:nvPr>
        </p:nvSpPr>
        <p:spPr bwMode="gray">
          <a:xfrm>
            <a:off x="119876" y="3443578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0" name="Line 78"/>
          <p:cNvSpPr>
            <a:spLocks noChangeShapeType="1"/>
          </p:cNvSpPr>
          <p:nvPr>
            <p:custDataLst>
              <p:tags r:id="rId73"/>
            </p:custDataLst>
          </p:nvPr>
        </p:nvSpPr>
        <p:spPr bwMode="gray">
          <a:xfrm>
            <a:off x="119876" y="3587736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1" name="Line 79"/>
          <p:cNvSpPr>
            <a:spLocks noChangeShapeType="1"/>
          </p:cNvSpPr>
          <p:nvPr>
            <p:custDataLst>
              <p:tags r:id="rId74"/>
            </p:custDataLst>
          </p:nvPr>
        </p:nvSpPr>
        <p:spPr bwMode="gray">
          <a:xfrm>
            <a:off x="119876" y="3730273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2" name="Line 80"/>
          <p:cNvSpPr>
            <a:spLocks noChangeShapeType="1"/>
          </p:cNvSpPr>
          <p:nvPr>
            <p:custDataLst>
              <p:tags r:id="rId75"/>
            </p:custDataLst>
          </p:nvPr>
        </p:nvSpPr>
        <p:spPr bwMode="gray">
          <a:xfrm>
            <a:off x="119876" y="3874430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3" name="Line 81"/>
          <p:cNvSpPr>
            <a:spLocks noChangeShapeType="1"/>
          </p:cNvSpPr>
          <p:nvPr>
            <p:custDataLst>
              <p:tags r:id="rId76"/>
            </p:custDataLst>
          </p:nvPr>
        </p:nvSpPr>
        <p:spPr bwMode="gray">
          <a:xfrm>
            <a:off x="119876" y="4016967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4" name="Line 82"/>
          <p:cNvSpPr>
            <a:spLocks noChangeShapeType="1"/>
          </p:cNvSpPr>
          <p:nvPr>
            <p:custDataLst>
              <p:tags r:id="rId77"/>
            </p:custDataLst>
          </p:nvPr>
        </p:nvSpPr>
        <p:spPr bwMode="gray">
          <a:xfrm>
            <a:off x="119876" y="4159505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5" name="Line 83"/>
          <p:cNvSpPr>
            <a:spLocks noChangeShapeType="1"/>
          </p:cNvSpPr>
          <p:nvPr>
            <p:custDataLst>
              <p:tags r:id="rId78"/>
            </p:custDataLst>
          </p:nvPr>
        </p:nvSpPr>
        <p:spPr bwMode="gray">
          <a:xfrm>
            <a:off x="119876" y="4303663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6" name="Line 84"/>
          <p:cNvSpPr>
            <a:spLocks noChangeShapeType="1"/>
          </p:cNvSpPr>
          <p:nvPr>
            <p:custDataLst>
              <p:tags r:id="rId79"/>
            </p:custDataLst>
          </p:nvPr>
        </p:nvSpPr>
        <p:spPr bwMode="gray">
          <a:xfrm>
            <a:off x="119876" y="4446200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7" name="Line 85"/>
          <p:cNvSpPr>
            <a:spLocks noChangeShapeType="1"/>
          </p:cNvSpPr>
          <p:nvPr>
            <p:custDataLst>
              <p:tags r:id="rId80"/>
            </p:custDataLst>
          </p:nvPr>
        </p:nvSpPr>
        <p:spPr bwMode="gray">
          <a:xfrm>
            <a:off x="119876" y="4590357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8" name="Line 86"/>
          <p:cNvSpPr>
            <a:spLocks noChangeShapeType="1"/>
          </p:cNvSpPr>
          <p:nvPr>
            <p:custDataLst>
              <p:tags r:id="rId81"/>
            </p:custDataLst>
          </p:nvPr>
        </p:nvSpPr>
        <p:spPr bwMode="gray">
          <a:xfrm>
            <a:off x="119876" y="4732895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9" name="Line 87"/>
          <p:cNvSpPr>
            <a:spLocks noChangeShapeType="1"/>
          </p:cNvSpPr>
          <p:nvPr>
            <p:custDataLst>
              <p:tags r:id="rId82"/>
            </p:custDataLst>
          </p:nvPr>
        </p:nvSpPr>
        <p:spPr bwMode="gray">
          <a:xfrm>
            <a:off x="119876" y="4875432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0" name="Line 88"/>
          <p:cNvSpPr>
            <a:spLocks noChangeShapeType="1"/>
          </p:cNvSpPr>
          <p:nvPr>
            <p:custDataLst>
              <p:tags r:id="rId83"/>
            </p:custDataLst>
          </p:nvPr>
        </p:nvSpPr>
        <p:spPr bwMode="gray">
          <a:xfrm>
            <a:off x="119876" y="5019590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1" name="Line 89"/>
          <p:cNvSpPr>
            <a:spLocks noChangeShapeType="1"/>
          </p:cNvSpPr>
          <p:nvPr>
            <p:custDataLst>
              <p:tags r:id="rId84"/>
            </p:custDataLst>
          </p:nvPr>
        </p:nvSpPr>
        <p:spPr bwMode="gray">
          <a:xfrm>
            <a:off x="119876" y="5162128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2" name="Line 90"/>
          <p:cNvSpPr>
            <a:spLocks noChangeShapeType="1"/>
          </p:cNvSpPr>
          <p:nvPr>
            <p:custDataLst>
              <p:tags r:id="rId85"/>
            </p:custDataLst>
          </p:nvPr>
        </p:nvSpPr>
        <p:spPr bwMode="gray">
          <a:xfrm>
            <a:off x="119876" y="5306284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3" name="Line 91"/>
          <p:cNvSpPr>
            <a:spLocks noChangeShapeType="1"/>
          </p:cNvSpPr>
          <p:nvPr>
            <p:custDataLst>
              <p:tags r:id="rId86"/>
            </p:custDataLst>
          </p:nvPr>
        </p:nvSpPr>
        <p:spPr bwMode="gray">
          <a:xfrm>
            <a:off x="119876" y="5448822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4" name="Line 92"/>
          <p:cNvSpPr>
            <a:spLocks noChangeShapeType="1"/>
          </p:cNvSpPr>
          <p:nvPr>
            <p:custDataLst>
              <p:tags r:id="rId87"/>
            </p:custDataLst>
          </p:nvPr>
        </p:nvSpPr>
        <p:spPr bwMode="gray">
          <a:xfrm>
            <a:off x="119876" y="5592980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5" name="Line 93"/>
          <p:cNvSpPr>
            <a:spLocks noChangeShapeType="1"/>
          </p:cNvSpPr>
          <p:nvPr>
            <p:custDataLst>
              <p:tags r:id="rId88"/>
            </p:custDataLst>
          </p:nvPr>
        </p:nvSpPr>
        <p:spPr bwMode="gray">
          <a:xfrm>
            <a:off x="119876" y="5735517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6" name="Line 94"/>
          <p:cNvSpPr>
            <a:spLocks noChangeShapeType="1"/>
          </p:cNvSpPr>
          <p:nvPr>
            <p:custDataLst>
              <p:tags r:id="rId89"/>
            </p:custDataLst>
          </p:nvPr>
        </p:nvSpPr>
        <p:spPr bwMode="gray">
          <a:xfrm>
            <a:off x="119876" y="6022212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7" name="Line 95"/>
          <p:cNvSpPr>
            <a:spLocks noChangeShapeType="1"/>
          </p:cNvSpPr>
          <p:nvPr>
            <p:custDataLst>
              <p:tags r:id="rId90"/>
            </p:custDataLst>
          </p:nvPr>
        </p:nvSpPr>
        <p:spPr bwMode="gray">
          <a:xfrm>
            <a:off x="119876" y="6164749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38" name="Rectangle 96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1574485" y="1161365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.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39" name="Rectangle 97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1574485" y="1446440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4.5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44" name="Rectangle 98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1574485" y="1733135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4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45" name="Rectangle 99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1574485" y="1875665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4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46" name="Rectangle 100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1574485" y="2162364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5.1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47" name="Rectangle 101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1574485" y="2447435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9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48" name="Rectangle 102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1574485" y="2591592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9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49" name="Rectangle 103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1574485" y="287666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6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0" name="Rectangle 104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1574485" y="3020832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1" name="Rectangle 105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1574485" y="330590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4.8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2" name="Rectangle 106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1574485" y="345005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.5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3" name="Rectangle 107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1574485" y="3735132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4" name="Rectangle 108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1574485" y="402182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.3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5" name="Rectangle 109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1574485" y="4164372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8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6" name="Rectangle 110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1574485" y="4308526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1.8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7" name="Rectangle 111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1574485" y="459359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1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8" name="Rectangle 112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1574485" y="488029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.3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59" name="Rectangle 113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1574485" y="5166994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1.2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0" name="Rectangle 114"/>
          <p:cNvSpPr>
            <a:spLocks noChangeArrowheads="1"/>
          </p:cNvSpPr>
          <p:nvPr>
            <p:custDataLst>
              <p:tags r:id="rId109"/>
            </p:custDataLst>
          </p:nvPr>
        </p:nvSpPr>
        <p:spPr bwMode="gray">
          <a:xfrm>
            <a:off x="1574485" y="545206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1" name="Rectangle 115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1574485" y="4737754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1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2" name="Rectangle 116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1574485" y="5022829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8.3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3" name="Rectangle 117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1574485" y="5309524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8.5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4" name="Rectangle 118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1574485" y="5596219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5" name="Rectangle 119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1574485" y="5881294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6" name="Rectangle 120"/>
          <p:cNvSpPr>
            <a:spLocks noChangeArrowheads="1"/>
          </p:cNvSpPr>
          <p:nvPr>
            <p:custDataLst>
              <p:tags r:id="rId115"/>
            </p:custDataLst>
          </p:nvPr>
        </p:nvSpPr>
        <p:spPr bwMode="gray">
          <a:xfrm>
            <a:off x="1574485" y="602545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8.6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7" name="Rectangle 121"/>
          <p:cNvSpPr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1574485" y="616798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1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8" name="Rectangle 122"/>
          <p:cNvSpPr>
            <a:spLocks noChangeArrowheads="1"/>
          </p:cNvSpPr>
          <p:nvPr>
            <p:custDataLst>
              <p:tags r:id="rId117"/>
            </p:custDataLst>
          </p:nvPr>
        </p:nvSpPr>
        <p:spPr bwMode="gray">
          <a:xfrm>
            <a:off x="1574485" y="6457923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78.5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69" name="Rectangle 123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1574485" y="1303895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4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0" name="Rectangle 124"/>
          <p:cNvSpPr>
            <a:spLocks noChangeArrowheads="1"/>
          </p:cNvSpPr>
          <p:nvPr>
            <p:custDataLst>
              <p:tags r:id="rId119"/>
            </p:custDataLst>
          </p:nvPr>
        </p:nvSpPr>
        <p:spPr bwMode="gray">
          <a:xfrm>
            <a:off x="1574485" y="1588970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4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1" name="Rectangle 125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1574485" y="2018210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2" name="Rectangle 126"/>
          <p:cNvSpPr>
            <a:spLocks noChangeArrowheads="1"/>
          </p:cNvSpPr>
          <p:nvPr>
            <p:custDataLst>
              <p:tags r:id="rId121"/>
            </p:custDataLst>
          </p:nvPr>
        </p:nvSpPr>
        <p:spPr bwMode="gray">
          <a:xfrm>
            <a:off x="1574485" y="230489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5.5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3" name="Rectangle 127"/>
          <p:cNvSpPr>
            <a:spLocks noChangeArrowheads="1"/>
          </p:cNvSpPr>
          <p:nvPr>
            <p:custDataLst>
              <p:tags r:id="rId122"/>
            </p:custDataLst>
          </p:nvPr>
        </p:nvSpPr>
        <p:spPr bwMode="gray">
          <a:xfrm>
            <a:off x="1574485" y="273413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4" name="Rectangle 128"/>
          <p:cNvSpPr>
            <a:spLocks noChangeArrowheads="1"/>
          </p:cNvSpPr>
          <p:nvPr>
            <p:custDataLst>
              <p:tags r:id="rId123"/>
            </p:custDataLst>
          </p:nvPr>
        </p:nvSpPr>
        <p:spPr bwMode="gray">
          <a:xfrm>
            <a:off x="1574485" y="3163362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3.2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5" name="Rectangle 129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1574485" y="3592602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.6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6" name="Rectangle 130"/>
          <p:cNvSpPr>
            <a:spLocks noChangeArrowheads="1"/>
          </p:cNvSpPr>
          <p:nvPr>
            <p:custDataLst>
              <p:tags r:id="rId125"/>
            </p:custDataLst>
          </p:nvPr>
        </p:nvSpPr>
        <p:spPr bwMode="gray">
          <a:xfrm>
            <a:off x="1574485" y="387929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7" name="Rectangle 131"/>
          <p:cNvSpPr>
            <a:spLocks noChangeArrowheads="1"/>
          </p:cNvSpPr>
          <p:nvPr>
            <p:custDataLst>
              <p:tags r:id="rId126"/>
            </p:custDataLst>
          </p:nvPr>
        </p:nvSpPr>
        <p:spPr bwMode="gray">
          <a:xfrm>
            <a:off x="1574485" y="445105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1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8" name="Rectangle 132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2266165" y="1161365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6.3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79" name="Rectangle 133"/>
          <p:cNvSpPr>
            <a:spLocks noChangeArrowheads="1"/>
          </p:cNvSpPr>
          <p:nvPr>
            <p:custDataLst>
              <p:tags r:id="rId128"/>
            </p:custDataLst>
          </p:nvPr>
        </p:nvSpPr>
        <p:spPr bwMode="gray">
          <a:xfrm>
            <a:off x="2266165" y="1446440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0" name="Rectangle 134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2266165" y="1733135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1" name="Rectangle 135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2266165" y="1875665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2" name="Rectangle 136"/>
          <p:cNvSpPr>
            <a:spLocks noChangeArrowheads="1"/>
          </p:cNvSpPr>
          <p:nvPr>
            <p:custDataLst>
              <p:tags r:id="rId131"/>
            </p:custDataLst>
          </p:nvPr>
        </p:nvSpPr>
        <p:spPr bwMode="gray">
          <a:xfrm>
            <a:off x="2266165" y="2162364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.9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3" name="Rectangle 137"/>
          <p:cNvSpPr>
            <a:spLocks noChangeArrowheads="1"/>
          </p:cNvSpPr>
          <p:nvPr>
            <p:custDataLst>
              <p:tags r:id="rId132"/>
            </p:custDataLst>
          </p:nvPr>
        </p:nvSpPr>
        <p:spPr bwMode="gray">
          <a:xfrm>
            <a:off x="2266165" y="2447435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4" name="Rectangle 138"/>
          <p:cNvSpPr>
            <a:spLocks noChangeArrowheads="1"/>
          </p:cNvSpPr>
          <p:nvPr>
            <p:custDataLst>
              <p:tags r:id="rId133"/>
            </p:custDataLst>
          </p:nvPr>
        </p:nvSpPr>
        <p:spPr bwMode="gray">
          <a:xfrm>
            <a:off x="2266165" y="2591592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5" name="Rectangle 139"/>
          <p:cNvSpPr>
            <a:spLocks noChangeArrowheads="1"/>
          </p:cNvSpPr>
          <p:nvPr>
            <p:custDataLst>
              <p:tags r:id="rId134"/>
            </p:custDataLst>
          </p:nvPr>
        </p:nvSpPr>
        <p:spPr bwMode="gray">
          <a:xfrm>
            <a:off x="2266165" y="287666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6" name="Rectangle 140"/>
          <p:cNvSpPr>
            <a:spLocks noChangeArrowheads="1"/>
          </p:cNvSpPr>
          <p:nvPr>
            <p:custDataLst>
              <p:tags r:id="rId135"/>
            </p:custDataLst>
          </p:nvPr>
        </p:nvSpPr>
        <p:spPr bwMode="gray">
          <a:xfrm>
            <a:off x="2266165" y="3020832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7" name="Rectangle 141"/>
          <p:cNvSpPr>
            <a:spLocks noChangeArrowheads="1"/>
          </p:cNvSpPr>
          <p:nvPr>
            <p:custDataLst>
              <p:tags r:id="rId136"/>
            </p:custDataLst>
          </p:nvPr>
        </p:nvSpPr>
        <p:spPr bwMode="gray">
          <a:xfrm>
            <a:off x="2266165" y="330590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2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8" name="Rectangle 142"/>
          <p:cNvSpPr>
            <a:spLocks noChangeArrowheads="1"/>
          </p:cNvSpPr>
          <p:nvPr>
            <p:custDataLst>
              <p:tags r:id="rId137"/>
            </p:custDataLst>
          </p:nvPr>
        </p:nvSpPr>
        <p:spPr bwMode="gray">
          <a:xfrm>
            <a:off x="2266165" y="345005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89" name="Rectangle 143"/>
          <p:cNvSpPr>
            <a:spLocks noChangeArrowheads="1"/>
          </p:cNvSpPr>
          <p:nvPr>
            <p:custDataLst>
              <p:tags r:id="rId138"/>
            </p:custDataLst>
          </p:nvPr>
        </p:nvSpPr>
        <p:spPr bwMode="gray">
          <a:xfrm>
            <a:off x="2266165" y="3735132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0" name="Rectangle 144"/>
          <p:cNvSpPr>
            <a:spLocks noChangeArrowheads="1"/>
          </p:cNvSpPr>
          <p:nvPr>
            <p:custDataLst>
              <p:tags r:id="rId139"/>
            </p:custDataLst>
          </p:nvPr>
        </p:nvSpPr>
        <p:spPr bwMode="gray">
          <a:xfrm>
            <a:off x="2266165" y="402182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.2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1" name="Rectangle 145"/>
          <p:cNvSpPr>
            <a:spLocks noChangeArrowheads="1"/>
          </p:cNvSpPr>
          <p:nvPr>
            <p:custDataLst>
              <p:tags r:id="rId140"/>
            </p:custDataLst>
          </p:nvPr>
        </p:nvSpPr>
        <p:spPr bwMode="gray">
          <a:xfrm>
            <a:off x="2266165" y="4164372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1.8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2" name="Rectangle 146"/>
          <p:cNvSpPr>
            <a:spLocks noChangeArrowheads="1"/>
          </p:cNvSpPr>
          <p:nvPr>
            <p:custDataLst>
              <p:tags r:id="rId141"/>
            </p:custDataLst>
          </p:nvPr>
        </p:nvSpPr>
        <p:spPr bwMode="gray">
          <a:xfrm>
            <a:off x="2266165" y="4308526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3" name="Rectangle 147"/>
          <p:cNvSpPr>
            <a:spLocks noChangeArrowheads="1"/>
          </p:cNvSpPr>
          <p:nvPr>
            <p:custDataLst>
              <p:tags r:id="rId142"/>
            </p:custDataLst>
          </p:nvPr>
        </p:nvSpPr>
        <p:spPr bwMode="gray">
          <a:xfrm>
            <a:off x="2266165" y="459359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4" name="Rectangle 148"/>
          <p:cNvSpPr>
            <a:spLocks noChangeArrowheads="1"/>
          </p:cNvSpPr>
          <p:nvPr>
            <p:custDataLst>
              <p:tags r:id="rId143"/>
            </p:custDataLst>
          </p:nvPr>
        </p:nvSpPr>
        <p:spPr bwMode="gray">
          <a:xfrm>
            <a:off x="2266165" y="488029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.7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5" name="Rectangle 149"/>
          <p:cNvSpPr>
            <a:spLocks noChangeArrowheads="1"/>
          </p:cNvSpPr>
          <p:nvPr>
            <p:custDataLst>
              <p:tags r:id="rId144"/>
            </p:custDataLst>
          </p:nvPr>
        </p:nvSpPr>
        <p:spPr bwMode="gray">
          <a:xfrm>
            <a:off x="2266165" y="5166994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6" name="Rectangle 150"/>
          <p:cNvSpPr>
            <a:spLocks noChangeArrowheads="1"/>
          </p:cNvSpPr>
          <p:nvPr>
            <p:custDataLst>
              <p:tags r:id="rId145"/>
            </p:custDataLst>
          </p:nvPr>
        </p:nvSpPr>
        <p:spPr bwMode="gray">
          <a:xfrm>
            <a:off x="2266165" y="545206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8.9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7" name="Rectangle 151"/>
          <p:cNvSpPr>
            <a:spLocks noChangeArrowheads="1"/>
          </p:cNvSpPr>
          <p:nvPr>
            <p:custDataLst>
              <p:tags r:id="rId146"/>
            </p:custDataLst>
          </p:nvPr>
        </p:nvSpPr>
        <p:spPr bwMode="gray">
          <a:xfrm>
            <a:off x="2266165" y="4737754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8" name="Rectangle 152"/>
          <p:cNvSpPr>
            <a:spLocks noChangeArrowheads="1"/>
          </p:cNvSpPr>
          <p:nvPr>
            <p:custDataLst>
              <p:tags r:id="rId147"/>
            </p:custDataLst>
          </p:nvPr>
        </p:nvSpPr>
        <p:spPr bwMode="gray">
          <a:xfrm>
            <a:off x="2266165" y="5022829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7.1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199" name="Rectangle 153"/>
          <p:cNvSpPr>
            <a:spLocks noChangeArrowheads="1"/>
          </p:cNvSpPr>
          <p:nvPr>
            <p:custDataLst>
              <p:tags r:id="rId148"/>
            </p:custDataLst>
          </p:nvPr>
        </p:nvSpPr>
        <p:spPr bwMode="gray">
          <a:xfrm>
            <a:off x="2266165" y="5309524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7.6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0" name="Rectangle 154"/>
          <p:cNvSpPr>
            <a:spLocks noChangeArrowheads="1"/>
          </p:cNvSpPr>
          <p:nvPr>
            <p:custDataLst>
              <p:tags r:id="rId149"/>
            </p:custDataLst>
          </p:nvPr>
        </p:nvSpPr>
        <p:spPr bwMode="gray">
          <a:xfrm>
            <a:off x="2266165" y="5596219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1" name="Rectangle 155"/>
          <p:cNvSpPr>
            <a:spLocks noChangeArrowheads="1"/>
          </p:cNvSpPr>
          <p:nvPr>
            <p:custDataLst>
              <p:tags r:id="rId150"/>
            </p:custDataLst>
          </p:nvPr>
        </p:nvSpPr>
        <p:spPr bwMode="gray">
          <a:xfrm>
            <a:off x="2266165" y="5881294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2" name="Rectangle 156"/>
          <p:cNvSpPr>
            <a:spLocks noChangeArrowheads="1"/>
          </p:cNvSpPr>
          <p:nvPr>
            <p:custDataLst>
              <p:tags r:id="rId151"/>
            </p:custDataLst>
          </p:nvPr>
        </p:nvSpPr>
        <p:spPr bwMode="gray">
          <a:xfrm>
            <a:off x="2266165" y="602545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9.3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3" name="Rectangle 157"/>
          <p:cNvSpPr>
            <a:spLocks noChangeArrowheads="1"/>
          </p:cNvSpPr>
          <p:nvPr>
            <p:custDataLst>
              <p:tags r:id="rId152"/>
            </p:custDataLst>
          </p:nvPr>
        </p:nvSpPr>
        <p:spPr bwMode="gray">
          <a:xfrm>
            <a:off x="2266165" y="616798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4" name="Line 158"/>
          <p:cNvSpPr>
            <a:spLocks noChangeShapeType="1"/>
          </p:cNvSpPr>
          <p:nvPr>
            <p:custDataLst>
              <p:tags r:id="rId153"/>
            </p:custDataLst>
          </p:nvPr>
        </p:nvSpPr>
        <p:spPr bwMode="gray">
          <a:xfrm>
            <a:off x="119876" y="6299189"/>
            <a:ext cx="4300677" cy="0"/>
          </a:xfrm>
          <a:prstGeom prst="line">
            <a:avLst/>
          </a:prstGeom>
          <a:noFill/>
          <a:ln w="9525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205" name="Rectangle 159"/>
          <p:cNvSpPr>
            <a:spLocks noChangeArrowheads="1"/>
          </p:cNvSpPr>
          <p:nvPr>
            <p:custDataLst>
              <p:tags r:id="rId154"/>
            </p:custDataLst>
          </p:nvPr>
        </p:nvSpPr>
        <p:spPr bwMode="gray">
          <a:xfrm>
            <a:off x="119868" y="6312146"/>
            <a:ext cx="1043177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 b="1">
                <a:solidFill>
                  <a:srgbClr val="E26B0A"/>
                </a:solidFill>
              </a:rPr>
              <a:t>Amber Red</a:t>
            </a:r>
          </a:p>
        </p:txBody>
      </p:sp>
      <p:sp>
        <p:nvSpPr>
          <p:cNvPr id="206" name="Rectangle 160"/>
          <p:cNvSpPr>
            <a:spLocks noChangeArrowheads="1"/>
          </p:cNvSpPr>
          <p:nvPr>
            <p:custDataLst>
              <p:tags r:id="rId155"/>
            </p:custDataLst>
          </p:nvPr>
        </p:nvSpPr>
        <p:spPr bwMode="gray">
          <a:xfrm>
            <a:off x="2266165" y="6457923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4.3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7" name="Rectangle 161"/>
          <p:cNvSpPr>
            <a:spLocks noChangeArrowheads="1"/>
          </p:cNvSpPr>
          <p:nvPr>
            <p:custDataLst>
              <p:tags r:id="rId156"/>
            </p:custDataLst>
          </p:nvPr>
        </p:nvSpPr>
        <p:spPr bwMode="gray">
          <a:xfrm>
            <a:off x="2266165" y="1303895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8" name="Rectangle 162"/>
          <p:cNvSpPr>
            <a:spLocks noChangeArrowheads="1"/>
          </p:cNvSpPr>
          <p:nvPr>
            <p:custDataLst>
              <p:tags r:id="rId157"/>
            </p:custDataLst>
          </p:nvPr>
        </p:nvSpPr>
        <p:spPr bwMode="gray">
          <a:xfrm>
            <a:off x="2266165" y="1588970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09" name="Rectangle 163"/>
          <p:cNvSpPr>
            <a:spLocks noChangeArrowheads="1"/>
          </p:cNvSpPr>
          <p:nvPr>
            <p:custDataLst>
              <p:tags r:id="rId158"/>
            </p:custDataLst>
          </p:nvPr>
        </p:nvSpPr>
        <p:spPr bwMode="gray">
          <a:xfrm>
            <a:off x="2266165" y="2018210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6.2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10" name="Rectangle 164"/>
          <p:cNvSpPr>
            <a:spLocks noChangeArrowheads="1"/>
          </p:cNvSpPr>
          <p:nvPr>
            <p:custDataLst>
              <p:tags r:id="rId159"/>
            </p:custDataLst>
          </p:nvPr>
        </p:nvSpPr>
        <p:spPr bwMode="gray">
          <a:xfrm>
            <a:off x="2266165" y="230489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81.4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11" name="Rectangle 165"/>
          <p:cNvSpPr>
            <a:spLocks noChangeArrowheads="1"/>
          </p:cNvSpPr>
          <p:nvPr>
            <p:custDataLst>
              <p:tags r:id="rId160"/>
            </p:custDataLst>
          </p:nvPr>
        </p:nvSpPr>
        <p:spPr bwMode="gray">
          <a:xfrm>
            <a:off x="2266165" y="2734137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12" name="Rectangle 166"/>
          <p:cNvSpPr>
            <a:spLocks noChangeArrowheads="1"/>
          </p:cNvSpPr>
          <p:nvPr>
            <p:custDataLst>
              <p:tags r:id="rId161"/>
            </p:custDataLst>
          </p:nvPr>
        </p:nvSpPr>
        <p:spPr bwMode="gray">
          <a:xfrm>
            <a:off x="2266165" y="3163362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13" name="Rectangle 167"/>
          <p:cNvSpPr>
            <a:spLocks noChangeArrowheads="1"/>
          </p:cNvSpPr>
          <p:nvPr>
            <p:custDataLst>
              <p:tags r:id="rId162"/>
            </p:custDataLst>
          </p:nvPr>
        </p:nvSpPr>
        <p:spPr bwMode="gray">
          <a:xfrm>
            <a:off x="2266165" y="3592602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14" name="Rectangle 168"/>
          <p:cNvSpPr>
            <a:spLocks noChangeArrowheads="1"/>
          </p:cNvSpPr>
          <p:nvPr>
            <p:custDataLst>
              <p:tags r:id="rId163"/>
            </p:custDataLst>
          </p:nvPr>
        </p:nvSpPr>
        <p:spPr bwMode="gray">
          <a:xfrm>
            <a:off x="2266165" y="3879297"/>
            <a:ext cx="204100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215" name="Rectangle 169"/>
          <p:cNvSpPr>
            <a:spLocks noChangeArrowheads="1"/>
          </p:cNvSpPr>
          <p:nvPr>
            <p:custDataLst>
              <p:tags r:id="rId164"/>
            </p:custDataLst>
          </p:nvPr>
        </p:nvSpPr>
        <p:spPr bwMode="gray">
          <a:xfrm>
            <a:off x="2266165" y="4451059"/>
            <a:ext cx="20410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800">
                <a:solidFill>
                  <a:srgbClr val="000000"/>
                </a:solidFill>
              </a:rPr>
              <a:t>90</a:t>
            </a:r>
            <a:endParaRPr lang="en-US" sz="800" b="1">
              <a:solidFill>
                <a:srgbClr val="000000"/>
              </a:solidFill>
            </a:endParaRPr>
          </a:p>
        </p:txBody>
      </p:sp>
      <p:graphicFrame>
        <p:nvGraphicFramePr>
          <p:cNvPr id="394" name="Object 244"/>
          <p:cNvGraphicFramePr>
            <a:graphicFrameLocks/>
          </p:cNvGraphicFramePr>
          <p:nvPr>
            <p:custDataLst>
              <p:tags r:id="rId165"/>
            </p:custDataLst>
            <p:extLst>
              <p:ext uri="{D42A27DB-BD31-4B8C-83A1-F6EECF244321}">
                <p14:modId xmlns:p14="http://schemas.microsoft.com/office/powerpoint/2010/main" val="1985703623"/>
              </p:ext>
            </p:extLst>
          </p:nvPr>
        </p:nvGraphicFramePr>
        <p:xfrm>
          <a:off x="2582863" y="1036638"/>
          <a:ext cx="1774825" cy="5688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" name="Chart" r:id="rId254" imgW="1739900" imgH="5575300" progId="MSGraph.Chart.8">
                  <p:embed followColorScheme="full"/>
                </p:oleObj>
              </mc:Choice>
              <mc:Fallback>
                <p:oleObj name="Chart" r:id="rId254" imgW="1739900" imgH="55753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5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582863" y="1036638"/>
                        <a:ext cx="1774825" cy="56880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6" name="Group 395"/>
          <p:cNvGrpSpPr/>
          <p:nvPr>
            <p:custDataLst>
              <p:tags r:id="rId166"/>
            </p:custDataLst>
          </p:nvPr>
        </p:nvGrpSpPr>
        <p:grpSpPr>
          <a:xfrm>
            <a:off x="7567833" y="234864"/>
            <a:ext cx="1425383" cy="895718"/>
            <a:chOff x="7416732" y="230188"/>
            <a:chExt cx="1396925" cy="877887"/>
          </a:xfrm>
        </p:grpSpPr>
        <p:sp>
          <p:nvSpPr>
            <p:cNvPr id="397" name="Rectangle 265"/>
            <p:cNvSpPr>
              <a:spLocks noChangeArrowheads="1"/>
            </p:cNvSpPr>
            <p:nvPr>
              <p:custDataLst>
                <p:tags r:id="rId242"/>
              </p:custDataLst>
            </p:nvPr>
          </p:nvSpPr>
          <p:spPr bwMode="gray">
            <a:xfrm>
              <a:off x="7672319" y="236538"/>
              <a:ext cx="1011238" cy="122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47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00">
                  <a:solidFill>
                    <a:srgbClr val="000000"/>
                  </a:solidFill>
                </a:rPr>
                <a:t>On or above trajectory</a:t>
              </a:r>
            </a:p>
          </p:txBody>
        </p:sp>
        <p:sp>
          <p:nvSpPr>
            <p:cNvPr id="398" name="Rectangle 266"/>
            <p:cNvSpPr>
              <a:spLocks noChangeArrowheads="1"/>
            </p:cNvSpPr>
            <p:nvPr>
              <p:custDataLst>
                <p:tags r:id="rId243"/>
              </p:custDataLst>
            </p:nvPr>
          </p:nvSpPr>
          <p:spPr bwMode="gray">
            <a:xfrm>
              <a:off x="7672319" y="985838"/>
              <a:ext cx="936625" cy="122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47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00">
                  <a:solidFill>
                    <a:srgbClr val="000000"/>
                  </a:solidFill>
                </a:rPr>
                <a:t>Significantly off track</a:t>
              </a:r>
            </a:p>
          </p:txBody>
        </p:sp>
        <p:sp>
          <p:nvSpPr>
            <p:cNvPr id="399" name="Rectangle 267"/>
            <p:cNvSpPr>
              <a:spLocks noChangeArrowheads="1"/>
            </p:cNvSpPr>
            <p:nvPr>
              <p:custDataLst>
                <p:tags r:id="rId244"/>
              </p:custDataLst>
            </p:nvPr>
          </p:nvSpPr>
          <p:spPr bwMode="gray">
            <a:xfrm>
              <a:off x="7672319" y="452438"/>
              <a:ext cx="83035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47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00" dirty="0">
                  <a:solidFill>
                    <a:srgbClr val="000000"/>
                  </a:solidFill>
                </a:rPr>
                <a:t>Close to trajectory</a:t>
              </a:r>
            </a:p>
          </p:txBody>
        </p:sp>
        <p:sp>
          <p:nvSpPr>
            <p:cNvPr id="400" name="Rectangle 268"/>
            <p:cNvSpPr>
              <a:spLocks noChangeArrowheads="1"/>
            </p:cNvSpPr>
            <p:nvPr>
              <p:custDataLst>
                <p:tags r:id="rId245"/>
              </p:custDataLst>
            </p:nvPr>
          </p:nvSpPr>
          <p:spPr bwMode="gray">
            <a:xfrm>
              <a:off x="7672319" y="668338"/>
              <a:ext cx="1141338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47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00" dirty="0">
                  <a:solidFill>
                    <a:srgbClr val="000000"/>
                  </a:solidFill>
                </a:rPr>
                <a:t>Made some progress not</a:t>
              </a:r>
            </a:p>
            <a:p>
              <a:pPr defTabSz="912847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00" dirty="0">
                  <a:solidFill>
                    <a:srgbClr val="000000"/>
                  </a:solidFill>
                </a:rPr>
                <a:t>close to trajectory</a:t>
              </a:r>
            </a:p>
          </p:txBody>
        </p:sp>
        <p:sp>
          <p:nvSpPr>
            <p:cNvPr id="401" name="Rectangle 269"/>
            <p:cNvSpPr>
              <a:spLocks noChangeArrowheads="1"/>
            </p:cNvSpPr>
            <p:nvPr>
              <p:custDataLst>
                <p:tags r:id="rId246"/>
              </p:custDataLst>
            </p:nvPr>
          </p:nvSpPr>
          <p:spPr bwMode="gray">
            <a:xfrm>
              <a:off x="7416732" y="230188"/>
              <a:ext cx="165100" cy="165100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402" name="Rectangle 270"/>
            <p:cNvSpPr>
              <a:spLocks noChangeArrowheads="1"/>
            </p:cNvSpPr>
            <p:nvPr>
              <p:custDataLst>
                <p:tags r:id="rId247"/>
              </p:custDataLst>
            </p:nvPr>
          </p:nvSpPr>
          <p:spPr bwMode="gray">
            <a:xfrm>
              <a:off x="7416732" y="928688"/>
              <a:ext cx="165100" cy="165100"/>
            </a:xfrm>
            <a:prstGeom prst="rect">
              <a:avLst/>
            </a:prstGeom>
            <a:solidFill>
              <a:srgbClr val="FF000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403" name="Rectangle 271" descr="Wide upward diagonal"/>
            <p:cNvSpPr>
              <a:spLocks noChangeArrowheads="1"/>
            </p:cNvSpPr>
            <p:nvPr>
              <p:custDataLst>
                <p:tags r:id="rId248"/>
              </p:custDataLst>
            </p:nvPr>
          </p:nvSpPr>
          <p:spPr bwMode="gray">
            <a:xfrm>
              <a:off x="7416732" y="441325"/>
              <a:ext cx="165100" cy="165100"/>
            </a:xfrm>
            <a:prstGeom prst="rect">
              <a:avLst/>
            </a:prstGeom>
            <a:pattFill prst="wdUpDiag">
              <a:fgClr>
                <a:srgbClr val="FFFF00"/>
              </a:fgClr>
              <a:bgClr>
                <a:schemeClr val="hlink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404" name="Rectangle 272" descr="Wide upward diagonal"/>
            <p:cNvSpPr>
              <a:spLocks noChangeArrowheads="1"/>
            </p:cNvSpPr>
            <p:nvPr>
              <p:custDataLst>
                <p:tags r:id="rId249"/>
              </p:custDataLst>
            </p:nvPr>
          </p:nvSpPr>
          <p:spPr bwMode="gray">
            <a:xfrm>
              <a:off x="7416732" y="690563"/>
              <a:ext cx="165100" cy="165100"/>
            </a:xfrm>
            <a:prstGeom prst="rect">
              <a:avLst/>
            </a:prstGeom>
            <a:pattFill prst="wdUpDiag">
              <a:fgClr>
                <a:srgbClr val="FF0000"/>
              </a:fgClr>
              <a:bgClr>
                <a:srgbClr val="FF9900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</p:grpSp>
      <p:sp>
        <p:nvSpPr>
          <p:cNvPr id="369" name="Freeform 28" descr="Wide upward diagonal"/>
          <p:cNvSpPr>
            <a:spLocks/>
          </p:cNvSpPr>
          <p:nvPr>
            <p:custDataLst>
              <p:tags r:id="rId167"/>
            </p:custDataLst>
          </p:nvPr>
        </p:nvSpPr>
        <p:spPr bwMode="gray">
          <a:xfrm>
            <a:off x="4239391" y="4537043"/>
            <a:ext cx="1145654" cy="1008945"/>
          </a:xfrm>
          <a:custGeom>
            <a:avLst/>
            <a:gdLst>
              <a:gd name="T0" fmla="*/ 0 w 798"/>
              <a:gd name="T1" fmla="*/ 631 h 703"/>
              <a:gd name="T2" fmla="*/ 26 w 798"/>
              <a:gd name="T3" fmla="*/ 586 h 703"/>
              <a:gd name="T4" fmla="*/ 95 w 798"/>
              <a:gd name="T5" fmla="*/ 479 h 703"/>
              <a:gd name="T6" fmla="*/ 207 w 798"/>
              <a:gd name="T7" fmla="*/ 365 h 703"/>
              <a:gd name="T8" fmla="*/ 259 w 798"/>
              <a:gd name="T9" fmla="*/ 297 h 703"/>
              <a:gd name="T10" fmla="*/ 199 w 798"/>
              <a:gd name="T11" fmla="*/ 312 h 703"/>
              <a:gd name="T12" fmla="*/ 164 w 798"/>
              <a:gd name="T13" fmla="*/ 251 h 703"/>
              <a:gd name="T14" fmla="*/ 182 w 798"/>
              <a:gd name="T15" fmla="*/ 137 h 703"/>
              <a:gd name="T16" fmla="*/ 242 w 798"/>
              <a:gd name="T17" fmla="*/ 106 h 703"/>
              <a:gd name="T18" fmla="*/ 311 w 798"/>
              <a:gd name="T19" fmla="*/ 61 h 703"/>
              <a:gd name="T20" fmla="*/ 389 w 798"/>
              <a:gd name="T21" fmla="*/ 0 h 703"/>
              <a:gd name="T22" fmla="*/ 501 w 798"/>
              <a:gd name="T23" fmla="*/ 8 h 703"/>
              <a:gd name="T24" fmla="*/ 527 w 798"/>
              <a:gd name="T25" fmla="*/ 23 h 703"/>
              <a:gd name="T26" fmla="*/ 579 w 798"/>
              <a:gd name="T27" fmla="*/ 30 h 703"/>
              <a:gd name="T28" fmla="*/ 587 w 798"/>
              <a:gd name="T29" fmla="*/ 99 h 703"/>
              <a:gd name="T30" fmla="*/ 682 w 798"/>
              <a:gd name="T31" fmla="*/ 15 h 703"/>
              <a:gd name="T32" fmla="*/ 743 w 798"/>
              <a:gd name="T33" fmla="*/ 30 h 703"/>
              <a:gd name="T34" fmla="*/ 752 w 798"/>
              <a:gd name="T35" fmla="*/ 69 h 703"/>
              <a:gd name="T36" fmla="*/ 743 w 798"/>
              <a:gd name="T37" fmla="*/ 106 h 703"/>
              <a:gd name="T38" fmla="*/ 734 w 798"/>
              <a:gd name="T39" fmla="*/ 168 h 703"/>
              <a:gd name="T40" fmla="*/ 691 w 798"/>
              <a:gd name="T41" fmla="*/ 175 h 703"/>
              <a:gd name="T42" fmla="*/ 665 w 798"/>
              <a:gd name="T43" fmla="*/ 244 h 703"/>
              <a:gd name="T44" fmla="*/ 639 w 798"/>
              <a:gd name="T45" fmla="*/ 297 h 703"/>
              <a:gd name="T46" fmla="*/ 622 w 798"/>
              <a:gd name="T47" fmla="*/ 350 h 703"/>
              <a:gd name="T48" fmla="*/ 605 w 798"/>
              <a:gd name="T49" fmla="*/ 411 h 703"/>
              <a:gd name="T50" fmla="*/ 553 w 798"/>
              <a:gd name="T51" fmla="*/ 448 h 703"/>
              <a:gd name="T52" fmla="*/ 493 w 798"/>
              <a:gd name="T53" fmla="*/ 472 h 703"/>
              <a:gd name="T54" fmla="*/ 450 w 798"/>
              <a:gd name="T55" fmla="*/ 517 h 703"/>
              <a:gd name="T56" fmla="*/ 371 w 798"/>
              <a:gd name="T57" fmla="*/ 540 h 703"/>
              <a:gd name="T58" fmla="*/ 398 w 798"/>
              <a:gd name="T59" fmla="*/ 563 h 703"/>
              <a:gd name="T60" fmla="*/ 276 w 798"/>
              <a:gd name="T61" fmla="*/ 608 h 703"/>
              <a:gd name="T62" fmla="*/ 207 w 798"/>
              <a:gd name="T63" fmla="*/ 662 h 703"/>
              <a:gd name="T64" fmla="*/ 112 w 798"/>
              <a:gd name="T65" fmla="*/ 616 h 703"/>
              <a:gd name="T66" fmla="*/ 8 w 798"/>
              <a:gd name="T67" fmla="*/ 646 h 70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798" h="703">
                <a:moveTo>
                  <a:pt x="9" y="686"/>
                </a:moveTo>
                <a:lnTo>
                  <a:pt x="0" y="670"/>
                </a:lnTo>
                <a:lnTo>
                  <a:pt x="0" y="638"/>
                </a:lnTo>
                <a:lnTo>
                  <a:pt x="28" y="622"/>
                </a:lnTo>
                <a:lnTo>
                  <a:pt x="55" y="606"/>
                </a:lnTo>
                <a:lnTo>
                  <a:pt x="101" y="509"/>
                </a:lnTo>
                <a:lnTo>
                  <a:pt x="92" y="468"/>
                </a:lnTo>
                <a:lnTo>
                  <a:pt x="220" y="388"/>
                </a:lnTo>
                <a:lnTo>
                  <a:pt x="266" y="355"/>
                </a:lnTo>
                <a:lnTo>
                  <a:pt x="275" y="315"/>
                </a:lnTo>
                <a:lnTo>
                  <a:pt x="248" y="339"/>
                </a:lnTo>
                <a:lnTo>
                  <a:pt x="211" y="331"/>
                </a:lnTo>
                <a:lnTo>
                  <a:pt x="211" y="275"/>
                </a:lnTo>
                <a:lnTo>
                  <a:pt x="174" y="267"/>
                </a:lnTo>
                <a:lnTo>
                  <a:pt x="183" y="234"/>
                </a:lnTo>
                <a:lnTo>
                  <a:pt x="193" y="146"/>
                </a:lnTo>
                <a:lnTo>
                  <a:pt x="211" y="137"/>
                </a:lnTo>
                <a:lnTo>
                  <a:pt x="257" y="113"/>
                </a:lnTo>
                <a:lnTo>
                  <a:pt x="303" y="97"/>
                </a:lnTo>
                <a:lnTo>
                  <a:pt x="330" y="65"/>
                </a:lnTo>
                <a:lnTo>
                  <a:pt x="348" y="16"/>
                </a:lnTo>
                <a:lnTo>
                  <a:pt x="413" y="0"/>
                </a:lnTo>
                <a:lnTo>
                  <a:pt x="513" y="8"/>
                </a:lnTo>
                <a:lnTo>
                  <a:pt x="532" y="8"/>
                </a:lnTo>
                <a:lnTo>
                  <a:pt x="532" y="24"/>
                </a:lnTo>
                <a:lnTo>
                  <a:pt x="559" y="24"/>
                </a:lnTo>
                <a:lnTo>
                  <a:pt x="596" y="16"/>
                </a:lnTo>
                <a:lnTo>
                  <a:pt x="614" y="32"/>
                </a:lnTo>
                <a:lnTo>
                  <a:pt x="623" y="65"/>
                </a:lnTo>
                <a:lnTo>
                  <a:pt x="623" y="105"/>
                </a:lnTo>
                <a:lnTo>
                  <a:pt x="706" y="65"/>
                </a:lnTo>
                <a:lnTo>
                  <a:pt x="724" y="16"/>
                </a:lnTo>
                <a:lnTo>
                  <a:pt x="770" y="16"/>
                </a:lnTo>
                <a:lnTo>
                  <a:pt x="788" y="32"/>
                </a:lnTo>
                <a:lnTo>
                  <a:pt x="761" y="49"/>
                </a:lnTo>
                <a:lnTo>
                  <a:pt x="798" y="73"/>
                </a:lnTo>
                <a:lnTo>
                  <a:pt x="798" y="97"/>
                </a:lnTo>
                <a:lnTo>
                  <a:pt x="788" y="113"/>
                </a:lnTo>
                <a:lnTo>
                  <a:pt x="770" y="146"/>
                </a:lnTo>
                <a:lnTo>
                  <a:pt x="779" y="178"/>
                </a:lnTo>
                <a:lnTo>
                  <a:pt x="761" y="186"/>
                </a:lnTo>
                <a:lnTo>
                  <a:pt x="733" y="186"/>
                </a:lnTo>
                <a:lnTo>
                  <a:pt x="715" y="226"/>
                </a:lnTo>
                <a:lnTo>
                  <a:pt x="706" y="259"/>
                </a:lnTo>
                <a:lnTo>
                  <a:pt x="706" y="291"/>
                </a:lnTo>
                <a:lnTo>
                  <a:pt x="678" y="315"/>
                </a:lnTo>
                <a:lnTo>
                  <a:pt x="678" y="339"/>
                </a:lnTo>
                <a:lnTo>
                  <a:pt x="660" y="372"/>
                </a:lnTo>
                <a:lnTo>
                  <a:pt x="669" y="404"/>
                </a:lnTo>
                <a:lnTo>
                  <a:pt x="642" y="436"/>
                </a:lnTo>
                <a:lnTo>
                  <a:pt x="605" y="452"/>
                </a:lnTo>
                <a:lnTo>
                  <a:pt x="587" y="476"/>
                </a:lnTo>
                <a:lnTo>
                  <a:pt x="568" y="501"/>
                </a:lnTo>
                <a:lnTo>
                  <a:pt x="523" y="501"/>
                </a:lnTo>
                <a:lnTo>
                  <a:pt x="504" y="525"/>
                </a:lnTo>
                <a:lnTo>
                  <a:pt x="477" y="549"/>
                </a:lnTo>
                <a:lnTo>
                  <a:pt x="422" y="557"/>
                </a:lnTo>
                <a:lnTo>
                  <a:pt x="394" y="573"/>
                </a:lnTo>
                <a:lnTo>
                  <a:pt x="413" y="573"/>
                </a:lnTo>
                <a:lnTo>
                  <a:pt x="422" y="598"/>
                </a:lnTo>
                <a:lnTo>
                  <a:pt x="348" y="630"/>
                </a:lnTo>
                <a:lnTo>
                  <a:pt x="293" y="646"/>
                </a:lnTo>
                <a:lnTo>
                  <a:pt x="248" y="678"/>
                </a:lnTo>
                <a:lnTo>
                  <a:pt x="220" y="703"/>
                </a:lnTo>
                <a:lnTo>
                  <a:pt x="165" y="662"/>
                </a:lnTo>
                <a:lnTo>
                  <a:pt x="119" y="654"/>
                </a:lnTo>
                <a:lnTo>
                  <a:pt x="83" y="662"/>
                </a:lnTo>
                <a:lnTo>
                  <a:pt x="9" y="686"/>
                </a:lnTo>
                <a:close/>
              </a:path>
            </a:pathLst>
          </a:custGeom>
          <a:pattFill prst="wdUpDiag">
            <a:fgClr>
              <a:srgbClr val="FF0000"/>
            </a:fgClr>
            <a:bgClr>
              <a:srgbClr val="FF9900"/>
            </a:bgClr>
          </a:patt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90" name="Freeform 33"/>
          <p:cNvSpPr>
            <a:spLocks/>
          </p:cNvSpPr>
          <p:nvPr>
            <p:custDataLst>
              <p:tags r:id="rId168"/>
            </p:custDataLst>
          </p:nvPr>
        </p:nvSpPr>
        <p:spPr bwMode="gray">
          <a:xfrm>
            <a:off x="5410015" y="4512073"/>
            <a:ext cx="1578947" cy="1553806"/>
          </a:xfrm>
          <a:custGeom>
            <a:avLst/>
            <a:gdLst>
              <a:gd name="T0" fmla="*/ 811 w 1100"/>
              <a:gd name="T1" fmla="*/ 510 h 1082"/>
              <a:gd name="T2" fmla="*/ 759 w 1100"/>
              <a:gd name="T3" fmla="*/ 555 h 1082"/>
              <a:gd name="T4" fmla="*/ 734 w 1100"/>
              <a:gd name="T5" fmla="*/ 579 h 1082"/>
              <a:gd name="T6" fmla="*/ 717 w 1100"/>
              <a:gd name="T7" fmla="*/ 601 h 1082"/>
              <a:gd name="T8" fmla="*/ 699 w 1100"/>
              <a:gd name="T9" fmla="*/ 647 h 1082"/>
              <a:gd name="T10" fmla="*/ 682 w 1100"/>
              <a:gd name="T11" fmla="*/ 693 h 1082"/>
              <a:gd name="T12" fmla="*/ 665 w 1100"/>
              <a:gd name="T13" fmla="*/ 716 h 1082"/>
              <a:gd name="T14" fmla="*/ 630 w 1100"/>
              <a:gd name="T15" fmla="*/ 738 h 1082"/>
              <a:gd name="T16" fmla="*/ 595 w 1100"/>
              <a:gd name="T17" fmla="*/ 768 h 1082"/>
              <a:gd name="T18" fmla="*/ 526 w 1100"/>
              <a:gd name="T19" fmla="*/ 830 h 1082"/>
              <a:gd name="T20" fmla="*/ 510 w 1100"/>
              <a:gd name="T21" fmla="*/ 898 h 1082"/>
              <a:gd name="T22" fmla="*/ 458 w 1100"/>
              <a:gd name="T23" fmla="*/ 913 h 1082"/>
              <a:gd name="T24" fmla="*/ 414 w 1100"/>
              <a:gd name="T25" fmla="*/ 936 h 1082"/>
              <a:gd name="T26" fmla="*/ 388 w 1100"/>
              <a:gd name="T27" fmla="*/ 944 h 1082"/>
              <a:gd name="T28" fmla="*/ 328 w 1100"/>
              <a:gd name="T29" fmla="*/ 944 h 1082"/>
              <a:gd name="T30" fmla="*/ 276 w 1100"/>
              <a:gd name="T31" fmla="*/ 944 h 1082"/>
              <a:gd name="T32" fmla="*/ 251 w 1100"/>
              <a:gd name="T33" fmla="*/ 944 h 1082"/>
              <a:gd name="T34" fmla="*/ 224 w 1100"/>
              <a:gd name="T35" fmla="*/ 944 h 1082"/>
              <a:gd name="T36" fmla="*/ 189 w 1100"/>
              <a:gd name="T37" fmla="*/ 959 h 1082"/>
              <a:gd name="T38" fmla="*/ 155 w 1100"/>
              <a:gd name="T39" fmla="*/ 966 h 1082"/>
              <a:gd name="T40" fmla="*/ 129 w 1100"/>
              <a:gd name="T41" fmla="*/ 966 h 1082"/>
              <a:gd name="T42" fmla="*/ 69 w 1100"/>
              <a:gd name="T43" fmla="*/ 989 h 1082"/>
              <a:gd name="T44" fmla="*/ 43 w 1100"/>
              <a:gd name="T45" fmla="*/ 1005 h 1082"/>
              <a:gd name="T46" fmla="*/ 25 w 1100"/>
              <a:gd name="T47" fmla="*/ 1012 h 1082"/>
              <a:gd name="T48" fmla="*/ 0 w 1100"/>
              <a:gd name="T49" fmla="*/ 1012 h 1082"/>
              <a:gd name="T50" fmla="*/ 25 w 1100"/>
              <a:gd name="T51" fmla="*/ 852 h 1082"/>
              <a:gd name="T52" fmla="*/ 95 w 1100"/>
              <a:gd name="T53" fmla="*/ 411 h 1082"/>
              <a:gd name="T54" fmla="*/ 60 w 1100"/>
              <a:gd name="T55" fmla="*/ 312 h 1082"/>
              <a:gd name="T56" fmla="*/ 121 w 1100"/>
              <a:gd name="T57" fmla="*/ 236 h 1082"/>
              <a:gd name="T58" fmla="*/ 199 w 1100"/>
              <a:gd name="T59" fmla="*/ 213 h 1082"/>
              <a:gd name="T60" fmla="*/ 276 w 1100"/>
              <a:gd name="T61" fmla="*/ 213 h 1082"/>
              <a:gd name="T62" fmla="*/ 311 w 1100"/>
              <a:gd name="T63" fmla="*/ 236 h 1082"/>
              <a:gd name="T64" fmla="*/ 406 w 1100"/>
              <a:gd name="T65" fmla="*/ 206 h 1082"/>
              <a:gd name="T66" fmla="*/ 500 w 1100"/>
              <a:gd name="T67" fmla="*/ 168 h 1082"/>
              <a:gd name="T68" fmla="*/ 682 w 1100"/>
              <a:gd name="T69" fmla="*/ 144 h 1082"/>
              <a:gd name="T70" fmla="*/ 742 w 1100"/>
              <a:gd name="T71" fmla="*/ 91 h 1082"/>
              <a:gd name="T72" fmla="*/ 811 w 1100"/>
              <a:gd name="T73" fmla="*/ 15 h 1082"/>
              <a:gd name="T74" fmla="*/ 906 w 1100"/>
              <a:gd name="T75" fmla="*/ 23 h 1082"/>
              <a:gd name="T76" fmla="*/ 975 w 1100"/>
              <a:gd name="T77" fmla="*/ 91 h 1082"/>
              <a:gd name="T78" fmla="*/ 1018 w 1100"/>
              <a:gd name="T79" fmla="*/ 168 h 1082"/>
              <a:gd name="T80" fmla="*/ 993 w 1100"/>
              <a:gd name="T81" fmla="*/ 251 h 1082"/>
              <a:gd name="T82" fmla="*/ 993 w 1100"/>
              <a:gd name="T83" fmla="*/ 282 h 1082"/>
              <a:gd name="T84" fmla="*/ 966 w 1100"/>
              <a:gd name="T85" fmla="*/ 289 h 1082"/>
              <a:gd name="T86" fmla="*/ 863 w 1100"/>
              <a:gd name="T87" fmla="*/ 304 h 1082"/>
              <a:gd name="T88" fmla="*/ 759 w 1100"/>
              <a:gd name="T89" fmla="*/ 312 h 1082"/>
              <a:gd name="T90" fmla="*/ 811 w 1100"/>
              <a:gd name="T91" fmla="*/ 350 h 1082"/>
              <a:gd name="T92" fmla="*/ 863 w 1100"/>
              <a:gd name="T93" fmla="*/ 487 h 108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100" h="1082">
                <a:moveTo>
                  <a:pt x="916" y="517"/>
                </a:moveTo>
                <a:lnTo>
                  <a:pt x="889" y="533"/>
                </a:lnTo>
                <a:lnTo>
                  <a:pt x="861" y="541"/>
                </a:lnTo>
                <a:lnTo>
                  <a:pt x="834" y="557"/>
                </a:lnTo>
                <a:lnTo>
                  <a:pt x="825" y="565"/>
                </a:lnTo>
                <a:lnTo>
                  <a:pt x="806" y="589"/>
                </a:lnTo>
                <a:lnTo>
                  <a:pt x="788" y="597"/>
                </a:lnTo>
                <a:lnTo>
                  <a:pt x="779" y="606"/>
                </a:lnTo>
                <a:lnTo>
                  <a:pt x="779" y="614"/>
                </a:lnTo>
                <a:lnTo>
                  <a:pt x="770" y="614"/>
                </a:lnTo>
                <a:lnTo>
                  <a:pt x="770" y="630"/>
                </a:lnTo>
                <a:lnTo>
                  <a:pt x="761" y="638"/>
                </a:lnTo>
                <a:lnTo>
                  <a:pt x="751" y="662"/>
                </a:lnTo>
                <a:lnTo>
                  <a:pt x="751" y="670"/>
                </a:lnTo>
                <a:lnTo>
                  <a:pt x="742" y="686"/>
                </a:lnTo>
                <a:lnTo>
                  <a:pt x="733" y="702"/>
                </a:lnTo>
                <a:lnTo>
                  <a:pt x="724" y="719"/>
                </a:lnTo>
                <a:lnTo>
                  <a:pt x="724" y="735"/>
                </a:lnTo>
                <a:lnTo>
                  <a:pt x="715" y="743"/>
                </a:lnTo>
                <a:lnTo>
                  <a:pt x="706" y="751"/>
                </a:lnTo>
                <a:lnTo>
                  <a:pt x="706" y="759"/>
                </a:lnTo>
                <a:lnTo>
                  <a:pt x="696" y="767"/>
                </a:lnTo>
                <a:lnTo>
                  <a:pt x="687" y="775"/>
                </a:lnTo>
                <a:lnTo>
                  <a:pt x="669" y="783"/>
                </a:lnTo>
                <a:lnTo>
                  <a:pt x="669" y="791"/>
                </a:lnTo>
                <a:lnTo>
                  <a:pt x="641" y="815"/>
                </a:lnTo>
                <a:lnTo>
                  <a:pt x="632" y="815"/>
                </a:lnTo>
                <a:lnTo>
                  <a:pt x="614" y="832"/>
                </a:lnTo>
                <a:lnTo>
                  <a:pt x="614" y="840"/>
                </a:lnTo>
                <a:lnTo>
                  <a:pt x="559" y="880"/>
                </a:lnTo>
                <a:lnTo>
                  <a:pt x="550" y="928"/>
                </a:lnTo>
                <a:lnTo>
                  <a:pt x="541" y="945"/>
                </a:lnTo>
                <a:lnTo>
                  <a:pt x="541" y="953"/>
                </a:lnTo>
                <a:lnTo>
                  <a:pt x="541" y="961"/>
                </a:lnTo>
                <a:lnTo>
                  <a:pt x="504" y="969"/>
                </a:lnTo>
                <a:lnTo>
                  <a:pt x="486" y="969"/>
                </a:lnTo>
                <a:lnTo>
                  <a:pt x="458" y="977"/>
                </a:lnTo>
                <a:lnTo>
                  <a:pt x="449" y="985"/>
                </a:lnTo>
                <a:lnTo>
                  <a:pt x="440" y="993"/>
                </a:lnTo>
                <a:lnTo>
                  <a:pt x="431" y="993"/>
                </a:lnTo>
                <a:lnTo>
                  <a:pt x="421" y="1001"/>
                </a:lnTo>
                <a:lnTo>
                  <a:pt x="412" y="1001"/>
                </a:lnTo>
                <a:lnTo>
                  <a:pt x="385" y="1001"/>
                </a:lnTo>
                <a:lnTo>
                  <a:pt x="376" y="1001"/>
                </a:lnTo>
                <a:lnTo>
                  <a:pt x="348" y="1001"/>
                </a:lnTo>
                <a:lnTo>
                  <a:pt x="321" y="1001"/>
                </a:lnTo>
                <a:lnTo>
                  <a:pt x="302" y="1001"/>
                </a:lnTo>
                <a:lnTo>
                  <a:pt x="293" y="1001"/>
                </a:lnTo>
                <a:lnTo>
                  <a:pt x="275" y="1001"/>
                </a:lnTo>
                <a:lnTo>
                  <a:pt x="266" y="1001"/>
                </a:lnTo>
                <a:lnTo>
                  <a:pt x="256" y="1001"/>
                </a:lnTo>
                <a:lnTo>
                  <a:pt x="238" y="1001"/>
                </a:lnTo>
                <a:lnTo>
                  <a:pt x="211" y="1009"/>
                </a:lnTo>
                <a:lnTo>
                  <a:pt x="201" y="1009"/>
                </a:lnTo>
                <a:lnTo>
                  <a:pt x="201" y="1017"/>
                </a:lnTo>
                <a:lnTo>
                  <a:pt x="183" y="1017"/>
                </a:lnTo>
                <a:lnTo>
                  <a:pt x="174" y="1017"/>
                </a:lnTo>
                <a:lnTo>
                  <a:pt x="165" y="1025"/>
                </a:lnTo>
                <a:lnTo>
                  <a:pt x="156" y="1025"/>
                </a:lnTo>
                <a:lnTo>
                  <a:pt x="137" y="1025"/>
                </a:lnTo>
                <a:lnTo>
                  <a:pt x="110" y="1033"/>
                </a:lnTo>
                <a:lnTo>
                  <a:pt x="91" y="1049"/>
                </a:lnTo>
                <a:lnTo>
                  <a:pt x="73" y="1049"/>
                </a:lnTo>
                <a:lnTo>
                  <a:pt x="64" y="1058"/>
                </a:lnTo>
                <a:lnTo>
                  <a:pt x="55" y="1058"/>
                </a:lnTo>
                <a:lnTo>
                  <a:pt x="46" y="1066"/>
                </a:lnTo>
                <a:lnTo>
                  <a:pt x="46" y="1074"/>
                </a:lnTo>
                <a:lnTo>
                  <a:pt x="36" y="1074"/>
                </a:lnTo>
                <a:lnTo>
                  <a:pt x="27" y="1074"/>
                </a:lnTo>
                <a:lnTo>
                  <a:pt x="9" y="1074"/>
                </a:lnTo>
                <a:lnTo>
                  <a:pt x="0" y="1074"/>
                </a:lnTo>
                <a:lnTo>
                  <a:pt x="0" y="1082"/>
                </a:lnTo>
                <a:lnTo>
                  <a:pt x="46" y="945"/>
                </a:lnTo>
                <a:lnTo>
                  <a:pt x="27" y="904"/>
                </a:lnTo>
                <a:lnTo>
                  <a:pt x="91" y="606"/>
                </a:lnTo>
                <a:lnTo>
                  <a:pt x="101" y="509"/>
                </a:lnTo>
                <a:lnTo>
                  <a:pt x="101" y="436"/>
                </a:lnTo>
                <a:lnTo>
                  <a:pt x="73" y="396"/>
                </a:lnTo>
                <a:lnTo>
                  <a:pt x="64" y="363"/>
                </a:lnTo>
                <a:lnTo>
                  <a:pt x="64" y="331"/>
                </a:lnTo>
                <a:lnTo>
                  <a:pt x="73" y="307"/>
                </a:lnTo>
                <a:lnTo>
                  <a:pt x="82" y="275"/>
                </a:lnTo>
                <a:lnTo>
                  <a:pt x="128" y="250"/>
                </a:lnTo>
                <a:lnTo>
                  <a:pt x="156" y="226"/>
                </a:lnTo>
                <a:lnTo>
                  <a:pt x="183" y="234"/>
                </a:lnTo>
                <a:lnTo>
                  <a:pt x="211" y="226"/>
                </a:lnTo>
                <a:lnTo>
                  <a:pt x="238" y="218"/>
                </a:lnTo>
                <a:lnTo>
                  <a:pt x="266" y="242"/>
                </a:lnTo>
                <a:lnTo>
                  <a:pt x="293" y="226"/>
                </a:lnTo>
                <a:lnTo>
                  <a:pt x="311" y="226"/>
                </a:lnTo>
                <a:lnTo>
                  <a:pt x="321" y="234"/>
                </a:lnTo>
                <a:lnTo>
                  <a:pt x="330" y="250"/>
                </a:lnTo>
                <a:lnTo>
                  <a:pt x="366" y="226"/>
                </a:lnTo>
                <a:lnTo>
                  <a:pt x="403" y="210"/>
                </a:lnTo>
                <a:lnTo>
                  <a:pt x="431" y="218"/>
                </a:lnTo>
                <a:lnTo>
                  <a:pt x="467" y="202"/>
                </a:lnTo>
                <a:lnTo>
                  <a:pt x="513" y="194"/>
                </a:lnTo>
                <a:lnTo>
                  <a:pt x="531" y="178"/>
                </a:lnTo>
                <a:lnTo>
                  <a:pt x="614" y="170"/>
                </a:lnTo>
                <a:lnTo>
                  <a:pt x="696" y="162"/>
                </a:lnTo>
                <a:lnTo>
                  <a:pt x="724" y="153"/>
                </a:lnTo>
                <a:lnTo>
                  <a:pt x="751" y="129"/>
                </a:lnTo>
                <a:lnTo>
                  <a:pt x="770" y="113"/>
                </a:lnTo>
                <a:lnTo>
                  <a:pt x="788" y="97"/>
                </a:lnTo>
                <a:lnTo>
                  <a:pt x="825" y="81"/>
                </a:lnTo>
                <a:lnTo>
                  <a:pt x="806" y="65"/>
                </a:lnTo>
                <a:lnTo>
                  <a:pt x="861" y="16"/>
                </a:lnTo>
                <a:lnTo>
                  <a:pt x="907" y="0"/>
                </a:lnTo>
                <a:lnTo>
                  <a:pt x="944" y="8"/>
                </a:lnTo>
                <a:lnTo>
                  <a:pt x="962" y="24"/>
                </a:lnTo>
                <a:lnTo>
                  <a:pt x="962" y="48"/>
                </a:lnTo>
                <a:lnTo>
                  <a:pt x="999" y="65"/>
                </a:lnTo>
                <a:lnTo>
                  <a:pt x="1035" y="97"/>
                </a:lnTo>
                <a:lnTo>
                  <a:pt x="1072" y="129"/>
                </a:lnTo>
                <a:lnTo>
                  <a:pt x="1100" y="153"/>
                </a:lnTo>
                <a:lnTo>
                  <a:pt x="1081" y="178"/>
                </a:lnTo>
                <a:lnTo>
                  <a:pt x="1045" y="210"/>
                </a:lnTo>
                <a:lnTo>
                  <a:pt x="1045" y="258"/>
                </a:lnTo>
                <a:lnTo>
                  <a:pt x="1054" y="266"/>
                </a:lnTo>
                <a:lnTo>
                  <a:pt x="1081" y="275"/>
                </a:lnTo>
                <a:lnTo>
                  <a:pt x="1054" y="283"/>
                </a:lnTo>
                <a:lnTo>
                  <a:pt x="1054" y="299"/>
                </a:lnTo>
                <a:lnTo>
                  <a:pt x="1072" y="307"/>
                </a:lnTo>
                <a:lnTo>
                  <a:pt x="1072" y="315"/>
                </a:lnTo>
                <a:lnTo>
                  <a:pt x="1026" y="307"/>
                </a:lnTo>
                <a:lnTo>
                  <a:pt x="990" y="291"/>
                </a:lnTo>
                <a:lnTo>
                  <a:pt x="953" y="307"/>
                </a:lnTo>
                <a:lnTo>
                  <a:pt x="916" y="323"/>
                </a:lnTo>
                <a:lnTo>
                  <a:pt x="880" y="315"/>
                </a:lnTo>
                <a:lnTo>
                  <a:pt x="843" y="307"/>
                </a:lnTo>
                <a:lnTo>
                  <a:pt x="806" y="331"/>
                </a:lnTo>
                <a:lnTo>
                  <a:pt x="816" y="379"/>
                </a:lnTo>
                <a:lnTo>
                  <a:pt x="834" y="363"/>
                </a:lnTo>
                <a:lnTo>
                  <a:pt x="861" y="371"/>
                </a:lnTo>
                <a:lnTo>
                  <a:pt x="889" y="420"/>
                </a:lnTo>
                <a:lnTo>
                  <a:pt x="889" y="476"/>
                </a:lnTo>
                <a:lnTo>
                  <a:pt x="916" y="517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91" name="Rectangle 102"/>
          <p:cNvSpPr>
            <a:spLocks noChangeArrowheads="1"/>
          </p:cNvSpPr>
          <p:nvPr>
            <p:custDataLst>
              <p:tags r:id="rId169"/>
            </p:custDataLst>
          </p:nvPr>
        </p:nvSpPr>
        <p:spPr bwMode="gray">
          <a:xfrm>
            <a:off x="5765457" y="5253729"/>
            <a:ext cx="550796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Bahawalpur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392" name="Rectangle 105"/>
          <p:cNvSpPr>
            <a:spLocks noChangeArrowheads="1"/>
          </p:cNvSpPr>
          <p:nvPr>
            <p:custDataLst>
              <p:tags r:id="rId170"/>
            </p:custDataLst>
          </p:nvPr>
        </p:nvSpPr>
        <p:spPr bwMode="gray">
          <a:xfrm>
            <a:off x="4685903" y="5011406"/>
            <a:ext cx="423010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Rajanpur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393" name="Freeform 149"/>
          <p:cNvSpPr>
            <a:spLocks/>
          </p:cNvSpPr>
          <p:nvPr>
            <p:custDataLst>
              <p:tags r:id="rId171"/>
            </p:custDataLst>
          </p:nvPr>
        </p:nvSpPr>
        <p:spPr bwMode="gray">
          <a:xfrm>
            <a:off x="4737302" y="3425290"/>
            <a:ext cx="816647" cy="1273298"/>
          </a:xfrm>
          <a:custGeom>
            <a:avLst/>
            <a:gdLst>
              <a:gd name="T0" fmla="*/ 26 w 569"/>
              <a:gd name="T1" fmla="*/ 707 h 888"/>
              <a:gd name="T2" fmla="*/ 70 w 569"/>
              <a:gd name="T3" fmla="*/ 631 h 888"/>
              <a:gd name="T4" fmla="*/ 35 w 569"/>
              <a:gd name="T5" fmla="*/ 593 h 888"/>
              <a:gd name="T6" fmla="*/ 35 w 569"/>
              <a:gd name="T7" fmla="*/ 563 h 888"/>
              <a:gd name="T8" fmla="*/ 78 w 569"/>
              <a:gd name="T9" fmla="*/ 479 h 888"/>
              <a:gd name="T10" fmla="*/ 95 w 569"/>
              <a:gd name="T11" fmla="*/ 388 h 888"/>
              <a:gd name="T12" fmla="*/ 147 w 569"/>
              <a:gd name="T13" fmla="*/ 289 h 888"/>
              <a:gd name="T14" fmla="*/ 199 w 569"/>
              <a:gd name="T15" fmla="*/ 251 h 888"/>
              <a:gd name="T16" fmla="*/ 242 w 569"/>
              <a:gd name="T17" fmla="*/ 244 h 888"/>
              <a:gd name="T18" fmla="*/ 225 w 569"/>
              <a:gd name="T19" fmla="*/ 213 h 888"/>
              <a:gd name="T20" fmla="*/ 268 w 569"/>
              <a:gd name="T21" fmla="*/ 69 h 888"/>
              <a:gd name="T22" fmla="*/ 337 w 569"/>
              <a:gd name="T23" fmla="*/ 61 h 888"/>
              <a:gd name="T24" fmla="*/ 363 w 569"/>
              <a:gd name="T25" fmla="*/ 15 h 888"/>
              <a:gd name="T26" fmla="*/ 414 w 569"/>
              <a:gd name="T27" fmla="*/ 0 h 888"/>
              <a:gd name="T28" fmla="*/ 475 w 569"/>
              <a:gd name="T29" fmla="*/ 8 h 888"/>
              <a:gd name="T30" fmla="*/ 518 w 569"/>
              <a:gd name="T31" fmla="*/ 23 h 888"/>
              <a:gd name="T32" fmla="*/ 536 w 569"/>
              <a:gd name="T33" fmla="*/ 129 h 888"/>
              <a:gd name="T34" fmla="*/ 527 w 569"/>
              <a:gd name="T35" fmla="*/ 190 h 888"/>
              <a:gd name="T36" fmla="*/ 493 w 569"/>
              <a:gd name="T37" fmla="*/ 228 h 888"/>
              <a:gd name="T38" fmla="*/ 510 w 569"/>
              <a:gd name="T39" fmla="*/ 281 h 888"/>
              <a:gd name="T40" fmla="*/ 493 w 569"/>
              <a:gd name="T41" fmla="*/ 350 h 888"/>
              <a:gd name="T42" fmla="*/ 501 w 569"/>
              <a:gd name="T43" fmla="*/ 410 h 888"/>
              <a:gd name="T44" fmla="*/ 484 w 569"/>
              <a:gd name="T45" fmla="*/ 464 h 888"/>
              <a:gd name="T46" fmla="*/ 475 w 569"/>
              <a:gd name="T47" fmla="*/ 532 h 888"/>
              <a:gd name="T48" fmla="*/ 484 w 569"/>
              <a:gd name="T49" fmla="*/ 593 h 888"/>
              <a:gd name="T50" fmla="*/ 493 w 569"/>
              <a:gd name="T51" fmla="*/ 646 h 888"/>
              <a:gd name="T52" fmla="*/ 484 w 569"/>
              <a:gd name="T53" fmla="*/ 677 h 888"/>
              <a:gd name="T54" fmla="*/ 466 w 569"/>
              <a:gd name="T55" fmla="*/ 745 h 888"/>
              <a:gd name="T56" fmla="*/ 389 w 569"/>
              <a:gd name="T57" fmla="*/ 776 h 888"/>
              <a:gd name="T58" fmla="*/ 398 w 569"/>
              <a:gd name="T59" fmla="*/ 745 h 888"/>
              <a:gd name="T60" fmla="*/ 337 w 569"/>
              <a:gd name="T61" fmla="*/ 791 h 888"/>
              <a:gd name="T62" fmla="*/ 259 w 569"/>
              <a:gd name="T63" fmla="*/ 791 h 888"/>
              <a:gd name="T64" fmla="*/ 234 w 569"/>
              <a:gd name="T65" fmla="*/ 745 h 888"/>
              <a:gd name="T66" fmla="*/ 173 w 569"/>
              <a:gd name="T67" fmla="*/ 752 h 888"/>
              <a:gd name="T68" fmla="*/ 155 w 569"/>
              <a:gd name="T69" fmla="*/ 737 h 888"/>
              <a:gd name="T70" fmla="*/ 0 w 569"/>
              <a:gd name="T71" fmla="*/ 745 h 88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569" h="888">
                <a:moveTo>
                  <a:pt x="0" y="791"/>
                </a:moveTo>
                <a:lnTo>
                  <a:pt x="28" y="751"/>
                </a:lnTo>
                <a:lnTo>
                  <a:pt x="46" y="703"/>
                </a:lnTo>
                <a:lnTo>
                  <a:pt x="74" y="670"/>
                </a:lnTo>
                <a:lnTo>
                  <a:pt x="83" y="630"/>
                </a:lnTo>
                <a:lnTo>
                  <a:pt x="37" y="630"/>
                </a:lnTo>
                <a:lnTo>
                  <a:pt x="19" y="630"/>
                </a:lnTo>
                <a:lnTo>
                  <a:pt x="37" y="598"/>
                </a:lnTo>
                <a:lnTo>
                  <a:pt x="46" y="549"/>
                </a:lnTo>
                <a:lnTo>
                  <a:pt x="83" y="509"/>
                </a:lnTo>
                <a:lnTo>
                  <a:pt x="92" y="477"/>
                </a:lnTo>
                <a:lnTo>
                  <a:pt x="101" y="412"/>
                </a:lnTo>
                <a:lnTo>
                  <a:pt x="138" y="372"/>
                </a:lnTo>
                <a:lnTo>
                  <a:pt x="156" y="307"/>
                </a:lnTo>
                <a:lnTo>
                  <a:pt x="184" y="283"/>
                </a:lnTo>
                <a:lnTo>
                  <a:pt x="211" y="267"/>
                </a:lnTo>
                <a:lnTo>
                  <a:pt x="220" y="242"/>
                </a:lnTo>
                <a:lnTo>
                  <a:pt x="257" y="259"/>
                </a:lnTo>
                <a:lnTo>
                  <a:pt x="257" y="234"/>
                </a:lnTo>
                <a:lnTo>
                  <a:pt x="239" y="226"/>
                </a:lnTo>
                <a:lnTo>
                  <a:pt x="257" y="97"/>
                </a:lnTo>
                <a:lnTo>
                  <a:pt x="285" y="73"/>
                </a:lnTo>
                <a:lnTo>
                  <a:pt x="321" y="65"/>
                </a:lnTo>
                <a:lnTo>
                  <a:pt x="358" y="65"/>
                </a:lnTo>
                <a:lnTo>
                  <a:pt x="376" y="33"/>
                </a:lnTo>
                <a:lnTo>
                  <a:pt x="385" y="16"/>
                </a:lnTo>
                <a:lnTo>
                  <a:pt x="413" y="16"/>
                </a:lnTo>
                <a:lnTo>
                  <a:pt x="440" y="0"/>
                </a:lnTo>
                <a:lnTo>
                  <a:pt x="477" y="8"/>
                </a:lnTo>
                <a:lnTo>
                  <a:pt x="504" y="8"/>
                </a:lnTo>
                <a:lnTo>
                  <a:pt x="532" y="0"/>
                </a:lnTo>
                <a:lnTo>
                  <a:pt x="550" y="24"/>
                </a:lnTo>
                <a:lnTo>
                  <a:pt x="559" y="49"/>
                </a:lnTo>
                <a:lnTo>
                  <a:pt x="569" y="137"/>
                </a:lnTo>
                <a:lnTo>
                  <a:pt x="559" y="178"/>
                </a:lnTo>
                <a:lnTo>
                  <a:pt x="559" y="202"/>
                </a:lnTo>
                <a:lnTo>
                  <a:pt x="541" y="218"/>
                </a:lnTo>
                <a:lnTo>
                  <a:pt x="523" y="242"/>
                </a:lnTo>
                <a:lnTo>
                  <a:pt x="514" y="267"/>
                </a:lnTo>
                <a:lnTo>
                  <a:pt x="541" y="299"/>
                </a:lnTo>
                <a:lnTo>
                  <a:pt x="523" y="355"/>
                </a:lnTo>
                <a:lnTo>
                  <a:pt x="523" y="372"/>
                </a:lnTo>
                <a:lnTo>
                  <a:pt x="523" y="396"/>
                </a:lnTo>
                <a:lnTo>
                  <a:pt x="532" y="436"/>
                </a:lnTo>
                <a:lnTo>
                  <a:pt x="523" y="460"/>
                </a:lnTo>
                <a:lnTo>
                  <a:pt x="514" y="493"/>
                </a:lnTo>
                <a:lnTo>
                  <a:pt x="504" y="525"/>
                </a:lnTo>
                <a:lnTo>
                  <a:pt x="504" y="565"/>
                </a:lnTo>
                <a:lnTo>
                  <a:pt x="514" y="590"/>
                </a:lnTo>
                <a:lnTo>
                  <a:pt x="514" y="630"/>
                </a:lnTo>
                <a:lnTo>
                  <a:pt x="523" y="646"/>
                </a:lnTo>
                <a:lnTo>
                  <a:pt x="523" y="686"/>
                </a:lnTo>
                <a:lnTo>
                  <a:pt x="532" y="719"/>
                </a:lnTo>
                <a:lnTo>
                  <a:pt x="514" y="719"/>
                </a:lnTo>
                <a:lnTo>
                  <a:pt x="514" y="751"/>
                </a:lnTo>
                <a:lnTo>
                  <a:pt x="495" y="791"/>
                </a:lnTo>
                <a:lnTo>
                  <a:pt x="450" y="848"/>
                </a:lnTo>
                <a:lnTo>
                  <a:pt x="413" y="824"/>
                </a:lnTo>
                <a:lnTo>
                  <a:pt x="440" y="807"/>
                </a:lnTo>
                <a:lnTo>
                  <a:pt x="422" y="791"/>
                </a:lnTo>
                <a:lnTo>
                  <a:pt x="376" y="791"/>
                </a:lnTo>
                <a:lnTo>
                  <a:pt x="358" y="840"/>
                </a:lnTo>
                <a:lnTo>
                  <a:pt x="275" y="888"/>
                </a:lnTo>
                <a:lnTo>
                  <a:pt x="275" y="840"/>
                </a:lnTo>
                <a:lnTo>
                  <a:pt x="266" y="807"/>
                </a:lnTo>
                <a:lnTo>
                  <a:pt x="248" y="791"/>
                </a:lnTo>
                <a:lnTo>
                  <a:pt x="211" y="799"/>
                </a:lnTo>
                <a:lnTo>
                  <a:pt x="184" y="799"/>
                </a:lnTo>
                <a:lnTo>
                  <a:pt x="184" y="783"/>
                </a:lnTo>
                <a:lnTo>
                  <a:pt x="165" y="783"/>
                </a:lnTo>
                <a:lnTo>
                  <a:pt x="65" y="775"/>
                </a:lnTo>
                <a:lnTo>
                  <a:pt x="0" y="791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05" name="Freeform 163"/>
          <p:cNvSpPr>
            <a:spLocks/>
          </p:cNvSpPr>
          <p:nvPr>
            <p:custDataLst>
              <p:tags r:id="rId172"/>
            </p:custDataLst>
          </p:nvPr>
        </p:nvSpPr>
        <p:spPr bwMode="gray">
          <a:xfrm>
            <a:off x="6567419" y="4177227"/>
            <a:ext cx="1288127" cy="1076502"/>
          </a:xfrm>
          <a:custGeom>
            <a:avLst/>
            <a:gdLst>
              <a:gd name="T0" fmla="*/ 207 w 898"/>
              <a:gd name="T1" fmla="*/ 243 h 751"/>
              <a:gd name="T2" fmla="*/ 268 w 898"/>
              <a:gd name="T3" fmla="*/ 190 h 751"/>
              <a:gd name="T4" fmla="*/ 337 w 898"/>
              <a:gd name="T5" fmla="*/ 168 h 751"/>
              <a:gd name="T6" fmla="*/ 381 w 898"/>
              <a:gd name="T7" fmla="*/ 129 h 751"/>
              <a:gd name="T8" fmla="*/ 441 w 898"/>
              <a:gd name="T9" fmla="*/ 129 h 751"/>
              <a:gd name="T10" fmla="*/ 545 w 898"/>
              <a:gd name="T11" fmla="*/ 99 h 751"/>
              <a:gd name="T12" fmla="*/ 665 w 898"/>
              <a:gd name="T13" fmla="*/ 30 h 751"/>
              <a:gd name="T14" fmla="*/ 795 w 898"/>
              <a:gd name="T15" fmla="*/ 0 h 751"/>
              <a:gd name="T16" fmla="*/ 804 w 898"/>
              <a:gd name="T17" fmla="*/ 15 h 751"/>
              <a:gd name="T18" fmla="*/ 821 w 898"/>
              <a:gd name="T19" fmla="*/ 23 h 751"/>
              <a:gd name="T20" fmla="*/ 821 w 898"/>
              <a:gd name="T21" fmla="*/ 30 h 751"/>
              <a:gd name="T22" fmla="*/ 829 w 898"/>
              <a:gd name="T23" fmla="*/ 45 h 751"/>
              <a:gd name="T24" fmla="*/ 846 w 898"/>
              <a:gd name="T25" fmla="*/ 53 h 751"/>
              <a:gd name="T26" fmla="*/ 846 w 898"/>
              <a:gd name="T27" fmla="*/ 69 h 751"/>
              <a:gd name="T28" fmla="*/ 846 w 898"/>
              <a:gd name="T29" fmla="*/ 91 h 751"/>
              <a:gd name="T30" fmla="*/ 829 w 898"/>
              <a:gd name="T31" fmla="*/ 99 h 751"/>
              <a:gd name="T32" fmla="*/ 812 w 898"/>
              <a:gd name="T33" fmla="*/ 114 h 751"/>
              <a:gd name="T34" fmla="*/ 769 w 898"/>
              <a:gd name="T35" fmla="*/ 144 h 751"/>
              <a:gd name="T36" fmla="*/ 743 w 898"/>
              <a:gd name="T37" fmla="*/ 152 h 751"/>
              <a:gd name="T38" fmla="*/ 717 w 898"/>
              <a:gd name="T39" fmla="*/ 159 h 751"/>
              <a:gd name="T40" fmla="*/ 682 w 898"/>
              <a:gd name="T41" fmla="*/ 168 h 751"/>
              <a:gd name="T42" fmla="*/ 665 w 898"/>
              <a:gd name="T43" fmla="*/ 168 h 751"/>
              <a:gd name="T44" fmla="*/ 640 w 898"/>
              <a:gd name="T45" fmla="*/ 183 h 751"/>
              <a:gd name="T46" fmla="*/ 613 w 898"/>
              <a:gd name="T47" fmla="*/ 190 h 751"/>
              <a:gd name="T48" fmla="*/ 553 w 898"/>
              <a:gd name="T49" fmla="*/ 205 h 751"/>
              <a:gd name="T50" fmla="*/ 527 w 898"/>
              <a:gd name="T51" fmla="*/ 274 h 751"/>
              <a:gd name="T52" fmla="*/ 510 w 898"/>
              <a:gd name="T53" fmla="*/ 319 h 751"/>
              <a:gd name="T54" fmla="*/ 493 w 898"/>
              <a:gd name="T55" fmla="*/ 364 h 751"/>
              <a:gd name="T56" fmla="*/ 484 w 898"/>
              <a:gd name="T57" fmla="*/ 388 h 751"/>
              <a:gd name="T58" fmla="*/ 432 w 898"/>
              <a:gd name="T59" fmla="*/ 448 h 751"/>
              <a:gd name="T60" fmla="*/ 415 w 898"/>
              <a:gd name="T61" fmla="*/ 487 h 751"/>
              <a:gd name="T62" fmla="*/ 398 w 898"/>
              <a:gd name="T63" fmla="*/ 509 h 751"/>
              <a:gd name="T64" fmla="*/ 389 w 898"/>
              <a:gd name="T65" fmla="*/ 517 h 751"/>
              <a:gd name="T66" fmla="*/ 381 w 898"/>
              <a:gd name="T67" fmla="*/ 532 h 751"/>
              <a:gd name="T68" fmla="*/ 354 w 898"/>
              <a:gd name="T69" fmla="*/ 554 h 751"/>
              <a:gd name="T70" fmla="*/ 337 w 898"/>
              <a:gd name="T71" fmla="*/ 570 h 751"/>
              <a:gd name="T72" fmla="*/ 319 w 898"/>
              <a:gd name="T73" fmla="*/ 601 h 751"/>
              <a:gd name="T74" fmla="*/ 311 w 898"/>
              <a:gd name="T75" fmla="*/ 631 h 751"/>
              <a:gd name="T76" fmla="*/ 294 w 898"/>
              <a:gd name="T77" fmla="*/ 631 h 751"/>
              <a:gd name="T78" fmla="*/ 199 w 898"/>
              <a:gd name="T79" fmla="*/ 668 h 751"/>
              <a:gd name="T80" fmla="*/ 182 w 898"/>
              <a:gd name="T81" fmla="*/ 676 h 751"/>
              <a:gd name="T82" fmla="*/ 155 w 898"/>
              <a:gd name="T83" fmla="*/ 683 h 751"/>
              <a:gd name="T84" fmla="*/ 78 w 898"/>
              <a:gd name="T85" fmla="*/ 668 h 751"/>
              <a:gd name="T86" fmla="*/ 26 w 898"/>
              <a:gd name="T87" fmla="*/ 562 h 751"/>
              <a:gd name="T88" fmla="*/ 35 w 898"/>
              <a:gd name="T89" fmla="*/ 509 h 751"/>
              <a:gd name="T90" fmla="*/ 138 w 898"/>
              <a:gd name="T91" fmla="*/ 509 h 751"/>
              <a:gd name="T92" fmla="*/ 259 w 898"/>
              <a:gd name="T93" fmla="*/ 517 h 751"/>
              <a:gd name="T94" fmla="*/ 234 w 898"/>
              <a:gd name="T95" fmla="*/ 487 h 751"/>
              <a:gd name="T96" fmla="*/ 225 w 898"/>
              <a:gd name="T97" fmla="*/ 463 h 751"/>
              <a:gd name="T98" fmla="*/ 285 w 898"/>
              <a:gd name="T99" fmla="*/ 364 h 751"/>
              <a:gd name="T100" fmla="*/ 182 w 898"/>
              <a:gd name="T101" fmla="*/ 281 h 75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898" h="751">
                <a:moveTo>
                  <a:pt x="193" y="299"/>
                </a:moveTo>
                <a:lnTo>
                  <a:pt x="193" y="282"/>
                </a:lnTo>
                <a:lnTo>
                  <a:pt x="220" y="258"/>
                </a:lnTo>
                <a:lnTo>
                  <a:pt x="229" y="234"/>
                </a:lnTo>
                <a:lnTo>
                  <a:pt x="275" y="234"/>
                </a:lnTo>
                <a:lnTo>
                  <a:pt x="284" y="202"/>
                </a:lnTo>
                <a:lnTo>
                  <a:pt x="294" y="186"/>
                </a:lnTo>
                <a:lnTo>
                  <a:pt x="303" y="169"/>
                </a:lnTo>
                <a:lnTo>
                  <a:pt x="358" y="178"/>
                </a:lnTo>
                <a:lnTo>
                  <a:pt x="385" y="169"/>
                </a:lnTo>
                <a:lnTo>
                  <a:pt x="385" y="145"/>
                </a:lnTo>
                <a:lnTo>
                  <a:pt x="404" y="137"/>
                </a:lnTo>
                <a:lnTo>
                  <a:pt x="431" y="153"/>
                </a:lnTo>
                <a:lnTo>
                  <a:pt x="440" y="137"/>
                </a:lnTo>
                <a:lnTo>
                  <a:pt x="468" y="137"/>
                </a:lnTo>
                <a:lnTo>
                  <a:pt x="486" y="129"/>
                </a:lnTo>
                <a:lnTo>
                  <a:pt x="532" y="113"/>
                </a:lnTo>
                <a:lnTo>
                  <a:pt x="578" y="105"/>
                </a:lnTo>
                <a:lnTo>
                  <a:pt x="587" y="81"/>
                </a:lnTo>
                <a:lnTo>
                  <a:pt x="633" y="56"/>
                </a:lnTo>
                <a:lnTo>
                  <a:pt x="706" y="32"/>
                </a:lnTo>
                <a:lnTo>
                  <a:pt x="779" y="8"/>
                </a:lnTo>
                <a:lnTo>
                  <a:pt x="816" y="0"/>
                </a:lnTo>
                <a:lnTo>
                  <a:pt x="844" y="0"/>
                </a:lnTo>
                <a:lnTo>
                  <a:pt x="844" y="8"/>
                </a:lnTo>
                <a:lnTo>
                  <a:pt x="844" y="16"/>
                </a:lnTo>
                <a:lnTo>
                  <a:pt x="853" y="16"/>
                </a:lnTo>
                <a:lnTo>
                  <a:pt x="853" y="24"/>
                </a:lnTo>
                <a:lnTo>
                  <a:pt x="862" y="24"/>
                </a:lnTo>
                <a:lnTo>
                  <a:pt x="871" y="24"/>
                </a:lnTo>
                <a:lnTo>
                  <a:pt x="871" y="32"/>
                </a:lnTo>
                <a:lnTo>
                  <a:pt x="880" y="32"/>
                </a:lnTo>
                <a:lnTo>
                  <a:pt x="880" y="40"/>
                </a:lnTo>
                <a:lnTo>
                  <a:pt x="880" y="48"/>
                </a:lnTo>
                <a:lnTo>
                  <a:pt x="889" y="48"/>
                </a:lnTo>
                <a:lnTo>
                  <a:pt x="898" y="56"/>
                </a:lnTo>
                <a:lnTo>
                  <a:pt x="898" y="65"/>
                </a:lnTo>
                <a:lnTo>
                  <a:pt x="898" y="73"/>
                </a:lnTo>
                <a:lnTo>
                  <a:pt x="898" y="81"/>
                </a:lnTo>
                <a:lnTo>
                  <a:pt x="898" y="89"/>
                </a:lnTo>
                <a:lnTo>
                  <a:pt x="898" y="97"/>
                </a:lnTo>
                <a:lnTo>
                  <a:pt x="898" y="105"/>
                </a:lnTo>
                <a:lnTo>
                  <a:pt x="880" y="105"/>
                </a:lnTo>
                <a:lnTo>
                  <a:pt x="871" y="113"/>
                </a:lnTo>
                <a:lnTo>
                  <a:pt x="871" y="121"/>
                </a:lnTo>
                <a:lnTo>
                  <a:pt x="862" y="121"/>
                </a:lnTo>
                <a:lnTo>
                  <a:pt x="853" y="129"/>
                </a:lnTo>
                <a:lnTo>
                  <a:pt x="844" y="129"/>
                </a:lnTo>
                <a:lnTo>
                  <a:pt x="816" y="153"/>
                </a:lnTo>
                <a:lnTo>
                  <a:pt x="807" y="161"/>
                </a:lnTo>
                <a:lnTo>
                  <a:pt x="798" y="161"/>
                </a:lnTo>
                <a:lnTo>
                  <a:pt x="789" y="161"/>
                </a:lnTo>
                <a:lnTo>
                  <a:pt x="779" y="169"/>
                </a:lnTo>
                <a:lnTo>
                  <a:pt x="761" y="169"/>
                </a:lnTo>
                <a:lnTo>
                  <a:pt x="752" y="178"/>
                </a:lnTo>
                <a:lnTo>
                  <a:pt x="734" y="178"/>
                </a:lnTo>
                <a:lnTo>
                  <a:pt x="724" y="178"/>
                </a:lnTo>
                <a:lnTo>
                  <a:pt x="715" y="178"/>
                </a:lnTo>
                <a:lnTo>
                  <a:pt x="706" y="178"/>
                </a:lnTo>
                <a:lnTo>
                  <a:pt x="688" y="186"/>
                </a:lnTo>
                <a:lnTo>
                  <a:pt x="679" y="186"/>
                </a:lnTo>
                <a:lnTo>
                  <a:pt x="679" y="194"/>
                </a:lnTo>
                <a:lnTo>
                  <a:pt x="669" y="194"/>
                </a:lnTo>
                <a:lnTo>
                  <a:pt x="660" y="194"/>
                </a:lnTo>
                <a:lnTo>
                  <a:pt x="651" y="202"/>
                </a:lnTo>
                <a:lnTo>
                  <a:pt x="624" y="210"/>
                </a:lnTo>
                <a:lnTo>
                  <a:pt x="596" y="218"/>
                </a:lnTo>
                <a:lnTo>
                  <a:pt x="587" y="218"/>
                </a:lnTo>
                <a:lnTo>
                  <a:pt x="578" y="234"/>
                </a:lnTo>
                <a:lnTo>
                  <a:pt x="559" y="291"/>
                </a:lnTo>
                <a:lnTo>
                  <a:pt x="541" y="323"/>
                </a:lnTo>
                <a:lnTo>
                  <a:pt x="541" y="331"/>
                </a:lnTo>
                <a:lnTo>
                  <a:pt x="541" y="339"/>
                </a:lnTo>
                <a:lnTo>
                  <a:pt x="532" y="355"/>
                </a:lnTo>
                <a:lnTo>
                  <a:pt x="532" y="363"/>
                </a:lnTo>
                <a:lnTo>
                  <a:pt x="523" y="387"/>
                </a:lnTo>
                <a:lnTo>
                  <a:pt x="514" y="387"/>
                </a:lnTo>
                <a:lnTo>
                  <a:pt x="514" y="404"/>
                </a:lnTo>
                <a:lnTo>
                  <a:pt x="514" y="412"/>
                </a:lnTo>
                <a:lnTo>
                  <a:pt x="486" y="444"/>
                </a:lnTo>
                <a:lnTo>
                  <a:pt x="477" y="460"/>
                </a:lnTo>
                <a:lnTo>
                  <a:pt x="459" y="476"/>
                </a:lnTo>
                <a:lnTo>
                  <a:pt x="449" y="492"/>
                </a:lnTo>
                <a:lnTo>
                  <a:pt x="440" y="509"/>
                </a:lnTo>
                <a:lnTo>
                  <a:pt x="440" y="517"/>
                </a:lnTo>
                <a:lnTo>
                  <a:pt x="431" y="517"/>
                </a:lnTo>
                <a:lnTo>
                  <a:pt x="422" y="541"/>
                </a:lnTo>
                <a:lnTo>
                  <a:pt x="413" y="541"/>
                </a:lnTo>
                <a:lnTo>
                  <a:pt x="413" y="549"/>
                </a:lnTo>
                <a:lnTo>
                  <a:pt x="404" y="557"/>
                </a:lnTo>
                <a:lnTo>
                  <a:pt x="404" y="565"/>
                </a:lnTo>
                <a:lnTo>
                  <a:pt x="394" y="573"/>
                </a:lnTo>
                <a:lnTo>
                  <a:pt x="385" y="589"/>
                </a:lnTo>
                <a:lnTo>
                  <a:pt x="376" y="589"/>
                </a:lnTo>
                <a:lnTo>
                  <a:pt x="367" y="597"/>
                </a:lnTo>
                <a:lnTo>
                  <a:pt x="358" y="605"/>
                </a:lnTo>
                <a:lnTo>
                  <a:pt x="358" y="613"/>
                </a:lnTo>
                <a:lnTo>
                  <a:pt x="339" y="638"/>
                </a:lnTo>
                <a:lnTo>
                  <a:pt x="330" y="646"/>
                </a:lnTo>
                <a:lnTo>
                  <a:pt x="330" y="654"/>
                </a:lnTo>
                <a:lnTo>
                  <a:pt x="330" y="670"/>
                </a:lnTo>
                <a:lnTo>
                  <a:pt x="321" y="670"/>
                </a:lnTo>
                <a:lnTo>
                  <a:pt x="312" y="670"/>
                </a:lnTo>
                <a:lnTo>
                  <a:pt x="266" y="694"/>
                </a:lnTo>
                <a:lnTo>
                  <a:pt x="220" y="702"/>
                </a:lnTo>
                <a:lnTo>
                  <a:pt x="211" y="710"/>
                </a:lnTo>
                <a:lnTo>
                  <a:pt x="202" y="710"/>
                </a:lnTo>
                <a:lnTo>
                  <a:pt x="193" y="710"/>
                </a:lnTo>
                <a:lnTo>
                  <a:pt x="193" y="718"/>
                </a:lnTo>
                <a:lnTo>
                  <a:pt x="184" y="718"/>
                </a:lnTo>
                <a:lnTo>
                  <a:pt x="174" y="718"/>
                </a:lnTo>
                <a:lnTo>
                  <a:pt x="165" y="726"/>
                </a:lnTo>
                <a:lnTo>
                  <a:pt x="138" y="743"/>
                </a:lnTo>
                <a:lnTo>
                  <a:pt x="110" y="751"/>
                </a:lnTo>
                <a:lnTo>
                  <a:pt x="83" y="710"/>
                </a:lnTo>
                <a:lnTo>
                  <a:pt x="83" y="654"/>
                </a:lnTo>
                <a:lnTo>
                  <a:pt x="55" y="605"/>
                </a:lnTo>
                <a:lnTo>
                  <a:pt x="28" y="597"/>
                </a:lnTo>
                <a:lnTo>
                  <a:pt x="10" y="613"/>
                </a:lnTo>
                <a:lnTo>
                  <a:pt x="0" y="565"/>
                </a:lnTo>
                <a:lnTo>
                  <a:pt x="37" y="541"/>
                </a:lnTo>
                <a:lnTo>
                  <a:pt x="74" y="549"/>
                </a:lnTo>
                <a:lnTo>
                  <a:pt x="110" y="557"/>
                </a:lnTo>
                <a:lnTo>
                  <a:pt x="147" y="541"/>
                </a:lnTo>
                <a:lnTo>
                  <a:pt x="184" y="525"/>
                </a:lnTo>
                <a:lnTo>
                  <a:pt x="220" y="541"/>
                </a:lnTo>
                <a:lnTo>
                  <a:pt x="275" y="549"/>
                </a:lnTo>
                <a:lnTo>
                  <a:pt x="275" y="541"/>
                </a:lnTo>
                <a:lnTo>
                  <a:pt x="248" y="533"/>
                </a:lnTo>
                <a:lnTo>
                  <a:pt x="248" y="517"/>
                </a:lnTo>
                <a:lnTo>
                  <a:pt x="275" y="509"/>
                </a:lnTo>
                <a:lnTo>
                  <a:pt x="248" y="500"/>
                </a:lnTo>
                <a:lnTo>
                  <a:pt x="239" y="492"/>
                </a:lnTo>
                <a:lnTo>
                  <a:pt x="239" y="444"/>
                </a:lnTo>
                <a:lnTo>
                  <a:pt x="275" y="412"/>
                </a:lnTo>
                <a:lnTo>
                  <a:pt x="303" y="387"/>
                </a:lnTo>
                <a:lnTo>
                  <a:pt x="266" y="363"/>
                </a:lnTo>
                <a:lnTo>
                  <a:pt x="229" y="331"/>
                </a:lnTo>
                <a:lnTo>
                  <a:pt x="193" y="299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06" name="Rectangle 179"/>
          <p:cNvSpPr>
            <a:spLocks noChangeArrowheads="1"/>
          </p:cNvSpPr>
          <p:nvPr>
            <p:custDataLst>
              <p:tags r:id="rId173"/>
            </p:custDataLst>
          </p:nvPr>
        </p:nvSpPr>
        <p:spPr bwMode="gray">
          <a:xfrm>
            <a:off x="7344407" y="4767615"/>
            <a:ext cx="66929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Bahawalnagar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07" name="Rectangle 96"/>
          <p:cNvSpPr>
            <a:spLocks noChangeArrowheads="1"/>
          </p:cNvSpPr>
          <p:nvPr>
            <p:custDataLst>
              <p:tags r:id="rId174"/>
            </p:custDataLst>
          </p:nvPr>
        </p:nvSpPr>
        <p:spPr bwMode="gray">
          <a:xfrm>
            <a:off x="4909150" y="4084703"/>
            <a:ext cx="492334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D.G</a:t>
            </a:r>
            <a:r>
              <a:rPr lang="en-GB" sz="800" dirty="0">
                <a:solidFill>
                  <a:srgbClr val="000000"/>
                </a:solidFill>
              </a:rPr>
              <a:t>. Khan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09" name="Freeform 23" descr="Wide upward diagonal"/>
          <p:cNvSpPr>
            <a:spLocks/>
          </p:cNvSpPr>
          <p:nvPr>
            <p:custDataLst>
              <p:tags r:id="rId175"/>
            </p:custDataLst>
          </p:nvPr>
        </p:nvSpPr>
        <p:spPr bwMode="gray">
          <a:xfrm>
            <a:off x="4559579" y="4949731"/>
            <a:ext cx="1001713" cy="1111749"/>
          </a:xfrm>
          <a:custGeom>
            <a:avLst/>
            <a:gdLst>
              <a:gd name="T0" fmla="*/ 553 w 697"/>
              <a:gd name="T1" fmla="*/ 730 h 775"/>
              <a:gd name="T2" fmla="*/ 535 w 697"/>
              <a:gd name="T3" fmla="*/ 722 h 775"/>
              <a:gd name="T4" fmla="*/ 527 w 697"/>
              <a:gd name="T5" fmla="*/ 722 h 775"/>
              <a:gd name="T6" fmla="*/ 501 w 697"/>
              <a:gd name="T7" fmla="*/ 722 h 775"/>
              <a:gd name="T8" fmla="*/ 493 w 697"/>
              <a:gd name="T9" fmla="*/ 715 h 775"/>
              <a:gd name="T10" fmla="*/ 484 w 697"/>
              <a:gd name="T11" fmla="*/ 707 h 775"/>
              <a:gd name="T12" fmla="*/ 484 w 697"/>
              <a:gd name="T13" fmla="*/ 699 h 775"/>
              <a:gd name="T14" fmla="*/ 475 w 697"/>
              <a:gd name="T15" fmla="*/ 691 h 775"/>
              <a:gd name="T16" fmla="*/ 458 w 697"/>
              <a:gd name="T17" fmla="*/ 676 h 775"/>
              <a:gd name="T18" fmla="*/ 458 w 697"/>
              <a:gd name="T19" fmla="*/ 646 h 775"/>
              <a:gd name="T20" fmla="*/ 458 w 697"/>
              <a:gd name="T21" fmla="*/ 624 h 775"/>
              <a:gd name="T22" fmla="*/ 441 w 697"/>
              <a:gd name="T23" fmla="*/ 616 h 775"/>
              <a:gd name="T24" fmla="*/ 423 w 697"/>
              <a:gd name="T25" fmla="*/ 601 h 775"/>
              <a:gd name="T26" fmla="*/ 415 w 697"/>
              <a:gd name="T27" fmla="*/ 592 h 775"/>
              <a:gd name="T28" fmla="*/ 406 w 697"/>
              <a:gd name="T29" fmla="*/ 585 h 775"/>
              <a:gd name="T30" fmla="*/ 380 w 697"/>
              <a:gd name="T31" fmla="*/ 577 h 775"/>
              <a:gd name="T32" fmla="*/ 371 w 697"/>
              <a:gd name="T33" fmla="*/ 577 h 775"/>
              <a:gd name="T34" fmla="*/ 346 w 697"/>
              <a:gd name="T35" fmla="*/ 585 h 775"/>
              <a:gd name="T36" fmla="*/ 328 w 697"/>
              <a:gd name="T37" fmla="*/ 585 h 775"/>
              <a:gd name="T38" fmla="*/ 303 w 697"/>
              <a:gd name="T39" fmla="*/ 592 h 775"/>
              <a:gd name="T40" fmla="*/ 268 w 697"/>
              <a:gd name="T41" fmla="*/ 624 h 775"/>
              <a:gd name="T42" fmla="*/ 234 w 697"/>
              <a:gd name="T43" fmla="*/ 631 h 775"/>
              <a:gd name="T44" fmla="*/ 207 w 697"/>
              <a:gd name="T45" fmla="*/ 631 h 775"/>
              <a:gd name="T46" fmla="*/ 130 w 697"/>
              <a:gd name="T47" fmla="*/ 601 h 775"/>
              <a:gd name="T48" fmla="*/ 52 w 697"/>
              <a:gd name="T49" fmla="*/ 532 h 775"/>
              <a:gd name="T50" fmla="*/ 35 w 697"/>
              <a:gd name="T51" fmla="*/ 456 h 775"/>
              <a:gd name="T52" fmla="*/ 0 w 697"/>
              <a:gd name="T53" fmla="*/ 388 h 775"/>
              <a:gd name="T54" fmla="*/ 69 w 697"/>
              <a:gd name="T55" fmla="*/ 334 h 775"/>
              <a:gd name="T56" fmla="*/ 190 w 697"/>
              <a:gd name="T57" fmla="*/ 289 h 775"/>
              <a:gd name="T58" fmla="*/ 164 w 697"/>
              <a:gd name="T59" fmla="*/ 266 h 775"/>
              <a:gd name="T60" fmla="*/ 242 w 697"/>
              <a:gd name="T61" fmla="*/ 243 h 775"/>
              <a:gd name="T62" fmla="*/ 286 w 697"/>
              <a:gd name="T63" fmla="*/ 198 h 775"/>
              <a:gd name="T64" fmla="*/ 346 w 697"/>
              <a:gd name="T65" fmla="*/ 174 h 775"/>
              <a:gd name="T66" fmla="*/ 398 w 697"/>
              <a:gd name="T67" fmla="*/ 137 h 775"/>
              <a:gd name="T68" fmla="*/ 441 w 697"/>
              <a:gd name="T69" fmla="*/ 84 h 775"/>
              <a:gd name="T70" fmla="*/ 535 w 697"/>
              <a:gd name="T71" fmla="*/ 38 h 775"/>
              <a:gd name="T72" fmla="*/ 587 w 697"/>
              <a:gd name="T73" fmla="*/ 0 h 775"/>
              <a:gd name="T74" fmla="*/ 622 w 697"/>
              <a:gd name="T75" fmla="*/ 23 h 775"/>
              <a:gd name="T76" fmla="*/ 631 w 697"/>
              <a:gd name="T77" fmla="*/ 84 h 775"/>
              <a:gd name="T78" fmla="*/ 657 w 697"/>
              <a:gd name="T79" fmla="*/ 190 h 775"/>
              <a:gd name="T80" fmla="*/ 587 w 697"/>
              <a:gd name="T81" fmla="*/ 562 h 775"/>
              <a:gd name="T82" fmla="*/ 562 w 697"/>
              <a:gd name="T83" fmla="*/ 730 h 77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97" h="775">
                <a:moveTo>
                  <a:pt x="596" y="775"/>
                </a:moveTo>
                <a:lnTo>
                  <a:pt x="587" y="775"/>
                </a:lnTo>
                <a:lnTo>
                  <a:pt x="578" y="775"/>
                </a:lnTo>
                <a:lnTo>
                  <a:pt x="568" y="767"/>
                </a:lnTo>
                <a:lnTo>
                  <a:pt x="559" y="767"/>
                </a:lnTo>
                <a:lnTo>
                  <a:pt x="541" y="767"/>
                </a:lnTo>
                <a:lnTo>
                  <a:pt x="532" y="767"/>
                </a:lnTo>
                <a:lnTo>
                  <a:pt x="523" y="767"/>
                </a:lnTo>
                <a:lnTo>
                  <a:pt x="523" y="759"/>
                </a:lnTo>
                <a:lnTo>
                  <a:pt x="513" y="759"/>
                </a:lnTo>
                <a:lnTo>
                  <a:pt x="513" y="751"/>
                </a:lnTo>
                <a:lnTo>
                  <a:pt x="513" y="742"/>
                </a:lnTo>
                <a:lnTo>
                  <a:pt x="504" y="734"/>
                </a:lnTo>
                <a:lnTo>
                  <a:pt x="495" y="718"/>
                </a:lnTo>
                <a:lnTo>
                  <a:pt x="486" y="718"/>
                </a:lnTo>
                <a:lnTo>
                  <a:pt x="486" y="694"/>
                </a:lnTo>
                <a:lnTo>
                  <a:pt x="486" y="686"/>
                </a:lnTo>
                <a:lnTo>
                  <a:pt x="486" y="670"/>
                </a:lnTo>
                <a:lnTo>
                  <a:pt x="486" y="662"/>
                </a:lnTo>
                <a:lnTo>
                  <a:pt x="468" y="654"/>
                </a:lnTo>
                <a:lnTo>
                  <a:pt x="458" y="638"/>
                </a:lnTo>
                <a:lnTo>
                  <a:pt x="449" y="638"/>
                </a:lnTo>
                <a:lnTo>
                  <a:pt x="449" y="629"/>
                </a:lnTo>
                <a:lnTo>
                  <a:pt x="440" y="629"/>
                </a:lnTo>
                <a:lnTo>
                  <a:pt x="440" y="621"/>
                </a:lnTo>
                <a:lnTo>
                  <a:pt x="431" y="621"/>
                </a:lnTo>
                <a:lnTo>
                  <a:pt x="431" y="613"/>
                </a:lnTo>
                <a:lnTo>
                  <a:pt x="403" y="613"/>
                </a:lnTo>
                <a:lnTo>
                  <a:pt x="394" y="613"/>
                </a:lnTo>
                <a:lnTo>
                  <a:pt x="376" y="613"/>
                </a:lnTo>
                <a:lnTo>
                  <a:pt x="367" y="621"/>
                </a:lnTo>
                <a:lnTo>
                  <a:pt x="358" y="621"/>
                </a:lnTo>
                <a:lnTo>
                  <a:pt x="348" y="621"/>
                </a:lnTo>
                <a:lnTo>
                  <a:pt x="339" y="621"/>
                </a:lnTo>
                <a:lnTo>
                  <a:pt x="321" y="629"/>
                </a:lnTo>
                <a:lnTo>
                  <a:pt x="312" y="638"/>
                </a:lnTo>
                <a:lnTo>
                  <a:pt x="284" y="662"/>
                </a:lnTo>
                <a:lnTo>
                  <a:pt x="266" y="662"/>
                </a:lnTo>
                <a:lnTo>
                  <a:pt x="248" y="670"/>
                </a:lnTo>
                <a:lnTo>
                  <a:pt x="229" y="686"/>
                </a:lnTo>
                <a:lnTo>
                  <a:pt x="220" y="670"/>
                </a:lnTo>
                <a:lnTo>
                  <a:pt x="193" y="654"/>
                </a:lnTo>
                <a:lnTo>
                  <a:pt x="138" y="638"/>
                </a:lnTo>
                <a:lnTo>
                  <a:pt x="83" y="613"/>
                </a:lnTo>
                <a:lnTo>
                  <a:pt x="55" y="565"/>
                </a:lnTo>
                <a:lnTo>
                  <a:pt x="37" y="525"/>
                </a:lnTo>
                <a:lnTo>
                  <a:pt x="37" y="484"/>
                </a:lnTo>
                <a:lnTo>
                  <a:pt x="28" y="444"/>
                </a:lnTo>
                <a:lnTo>
                  <a:pt x="0" y="412"/>
                </a:lnTo>
                <a:lnTo>
                  <a:pt x="28" y="387"/>
                </a:lnTo>
                <a:lnTo>
                  <a:pt x="73" y="355"/>
                </a:lnTo>
                <a:lnTo>
                  <a:pt x="138" y="339"/>
                </a:lnTo>
                <a:lnTo>
                  <a:pt x="202" y="307"/>
                </a:lnTo>
                <a:lnTo>
                  <a:pt x="193" y="282"/>
                </a:lnTo>
                <a:lnTo>
                  <a:pt x="174" y="282"/>
                </a:lnTo>
                <a:lnTo>
                  <a:pt x="202" y="266"/>
                </a:lnTo>
                <a:lnTo>
                  <a:pt x="257" y="258"/>
                </a:lnTo>
                <a:lnTo>
                  <a:pt x="284" y="226"/>
                </a:lnTo>
                <a:lnTo>
                  <a:pt x="303" y="210"/>
                </a:lnTo>
                <a:lnTo>
                  <a:pt x="348" y="210"/>
                </a:lnTo>
                <a:lnTo>
                  <a:pt x="367" y="185"/>
                </a:lnTo>
                <a:lnTo>
                  <a:pt x="385" y="161"/>
                </a:lnTo>
                <a:lnTo>
                  <a:pt x="422" y="145"/>
                </a:lnTo>
                <a:lnTo>
                  <a:pt x="449" y="113"/>
                </a:lnTo>
                <a:lnTo>
                  <a:pt x="468" y="89"/>
                </a:lnTo>
                <a:lnTo>
                  <a:pt x="513" y="72"/>
                </a:lnTo>
                <a:lnTo>
                  <a:pt x="568" y="40"/>
                </a:lnTo>
                <a:lnTo>
                  <a:pt x="596" y="8"/>
                </a:lnTo>
                <a:lnTo>
                  <a:pt x="623" y="0"/>
                </a:lnTo>
                <a:lnTo>
                  <a:pt x="669" y="0"/>
                </a:lnTo>
                <a:lnTo>
                  <a:pt x="660" y="24"/>
                </a:lnTo>
                <a:lnTo>
                  <a:pt x="660" y="56"/>
                </a:lnTo>
                <a:lnTo>
                  <a:pt x="669" y="89"/>
                </a:lnTo>
                <a:lnTo>
                  <a:pt x="697" y="129"/>
                </a:lnTo>
                <a:lnTo>
                  <a:pt x="697" y="202"/>
                </a:lnTo>
                <a:lnTo>
                  <a:pt x="687" y="299"/>
                </a:lnTo>
                <a:lnTo>
                  <a:pt x="623" y="597"/>
                </a:lnTo>
                <a:lnTo>
                  <a:pt x="642" y="638"/>
                </a:lnTo>
                <a:lnTo>
                  <a:pt x="596" y="775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0" name="Rectangle 103"/>
          <p:cNvSpPr>
            <a:spLocks noChangeArrowheads="1"/>
          </p:cNvSpPr>
          <p:nvPr>
            <p:custDataLst>
              <p:tags r:id="rId176"/>
            </p:custDataLst>
          </p:nvPr>
        </p:nvSpPr>
        <p:spPr bwMode="gray">
          <a:xfrm>
            <a:off x="4704360" y="5534042"/>
            <a:ext cx="72459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Rahimyar</a:t>
            </a:r>
            <a:r>
              <a:rPr lang="en-GB" sz="800" dirty="0">
                <a:solidFill>
                  <a:srgbClr val="000000"/>
                </a:solidFill>
              </a:rPr>
              <a:t> Khan</a:t>
            </a:r>
          </a:p>
        </p:txBody>
      </p:sp>
      <p:sp>
        <p:nvSpPr>
          <p:cNvPr id="411" name="Freeform 35"/>
          <p:cNvSpPr>
            <a:spLocks/>
          </p:cNvSpPr>
          <p:nvPr>
            <p:custDataLst>
              <p:tags r:id="rId177"/>
            </p:custDataLst>
          </p:nvPr>
        </p:nvSpPr>
        <p:spPr bwMode="gray">
          <a:xfrm>
            <a:off x="5186760" y="3852661"/>
            <a:ext cx="1064871" cy="1263018"/>
          </a:xfrm>
          <a:custGeom>
            <a:avLst/>
            <a:gdLst>
              <a:gd name="T0" fmla="*/ 0 w 742"/>
              <a:gd name="T1" fmla="*/ 799 h 880"/>
              <a:gd name="T2" fmla="*/ 17 w 742"/>
              <a:gd name="T3" fmla="*/ 745 h 880"/>
              <a:gd name="T4" fmla="*/ 43 w 742"/>
              <a:gd name="T5" fmla="*/ 692 h 880"/>
              <a:gd name="T6" fmla="*/ 69 w 742"/>
              <a:gd name="T7" fmla="*/ 624 h 880"/>
              <a:gd name="T8" fmla="*/ 112 w 742"/>
              <a:gd name="T9" fmla="*/ 616 h 880"/>
              <a:gd name="T10" fmla="*/ 121 w 742"/>
              <a:gd name="T11" fmla="*/ 555 h 880"/>
              <a:gd name="T12" fmla="*/ 130 w 742"/>
              <a:gd name="T13" fmla="*/ 517 h 880"/>
              <a:gd name="T14" fmla="*/ 199 w 742"/>
              <a:gd name="T15" fmla="*/ 426 h 880"/>
              <a:gd name="T16" fmla="*/ 207 w 742"/>
              <a:gd name="T17" fmla="*/ 396 h 880"/>
              <a:gd name="T18" fmla="*/ 199 w 742"/>
              <a:gd name="T19" fmla="*/ 327 h 880"/>
              <a:gd name="T20" fmla="*/ 199 w 742"/>
              <a:gd name="T21" fmla="*/ 274 h 880"/>
              <a:gd name="T22" fmla="*/ 181 w 742"/>
              <a:gd name="T23" fmla="*/ 213 h 880"/>
              <a:gd name="T24" fmla="*/ 199 w 742"/>
              <a:gd name="T25" fmla="*/ 152 h 880"/>
              <a:gd name="T26" fmla="*/ 199 w 742"/>
              <a:gd name="T27" fmla="*/ 91 h 880"/>
              <a:gd name="T28" fmla="*/ 199 w 742"/>
              <a:gd name="T29" fmla="*/ 53 h 880"/>
              <a:gd name="T30" fmla="*/ 294 w 742"/>
              <a:gd name="T31" fmla="*/ 53 h 880"/>
              <a:gd name="T32" fmla="*/ 380 w 742"/>
              <a:gd name="T33" fmla="*/ 45 h 880"/>
              <a:gd name="T34" fmla="*/ 406 w 742"/>
              <a:gd name="T35" fmla="*/ 15 h 880"/>
              <a:gd name="T36" fmla="*/ 440 w 742"/>
              <a:gd name="T37" fmla="*/ 0 h 880"/>
              <a:gd name="T38" fmla="*/ 501 w 742"/>
              <a:gd name="T39" fmla="*/ 38 h 880"/>
              <a:gd name="T40" fmla="*/ 578 w 742"/>
              <a:gd name="T41" fmla="*/ 91 h 880"/>
              <a:gd name="T42" fmla="*/ 630 w 742"/>
              <a:gd name="T43" fmla="*/ 61 h 880"/>
              <a:gd name="T44" fmla="*/ 682 w 742"/>
              <a:gd name="T45" fmla="*/ 91 h 880"/>
              <a:gd name="T46" fmla="*/ 605 w 742"/>
              <a:gd name="T47" fmla="*/ 137 h 880"/>
              <a:gd name="T48" fmla="*/ 561 w 742"/>
              <a:gd name="T49" fmla="*/ 137 h 880"/>
              <a:gd name="T50" fmla="*/ 475 w 742"/>
              <a:gd name="T51" fmla="*/ 213 h 880"/>
              <a:gd name="T52" fmla="*/ 440 w 742"/>
              <a:gd name="T53" fmla="*/ 282 h 880"/>
              <a:gd name="T54" fmla="*/ 398 w 742"/>
              <a:gd name="T55" fmla="*/ 365 h 880"/>
              <a:gd name="T56" fmla="*/ 371 w 742"/>
              <a:gd name="T57" fmla="*/ 388 h 880"/>
              <a:gd name="T58" fmla="*/ 354 w 742"/>
              <a:gd name="T59" fmla="*/ 510 h 880"/>
              <a:gd name="T60" fmla="*/ 302 w 742"/>
              <a:gd name="T61" fmla="*/ 547 h 880"/>
              <a:gd name="T62" fmla="*/ 284 w 742"/>
              <a:gd name="T63" fmla="*/ 616 h 880"/>
              <a:gd name="T64" fmla="*/ 276 w 742"/>
              <a:gd name="T65" fmla="*/ 669 h 880"/>
              <a:gd name="T66" fmla="*/ 216 w 742"/>
              <a:gd name="T67" fmla="*/ 723 h 880"/>
              <a:gd name="T68" fmla="*/ 147 w 742"/>
              <a:gd name="T69" fmla="*/ 730 h 880"/>
              <a:gd name="T70" fmla="*/ 69 w 742"/>
              <a:gd name="T71" fmla="*/ 790 h 880"/>
              <a:gd name="T72" fmla="*/ 8 w 742"/>
              <a:gd name="T73" fmla="*/ 829 h 88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742" h="880">
                <a:moveTo>
                  <a:pt x="9" y="880"/>
                </a:moveTo>
                <a:lnTo>
                  <a:pt x="0" y="848"/>
                </a:lnTo>
                <a:lnTo>
                  <a:pt x="18" y="815"/>
                </a:lnTo>
                <a:lnTo>
                  <a:pt x="18" y="791"/>
                </a:lnTo>
                <a:lnTo>
                  <a:pt x="46" y="767"/>
                </a:lnTo>
                <a:lnTo>
                  <a:pt x="46" y="735"/>
                </a:lnTo>
                <a:lnTo>
                  <a:pt x="55" y="702"/>
                </a:lnTo>
                <a:lnTo>
                  <a:pt x="73" y="662"/>
                </a:lnTo>
                <a:lnTo>
                  <a:pt x="101" y="662"/>
                </a:lnTo>
                <a:lnTo>
                  <a:pt x="119" y="654"/>
                </a:lnTo>
                <a:lnTo>
                  <a:pt x="110" y="622"/>
                </a:lnTo>
                <a:lnTo>
                  <a:pt x="128" y="589"/>
                </a:lnTo>
                <a:lnTo>
                  <a:pt x="138" y="573"/>
                </a:lnTo>
                <a:lnTo>
                  <a:pt x="138" y="549"/>
                </a:lnTo>
                <a:lnTo>
                  <a:pt x="183" y="492"/>
                </a:lnTo>
                <a:lnTo>
                  <a:pt x="211" y="452"/>
                </a:lnTo>
                <a:lnTo>
                  <a:pt x="211" y="420"/>
                </a:lnTo>
                <a:lnTo>
                  <a:pt x="220" y="420"/>
                </a:lnTo>
                <a:lnTo>
                  <a:pt x="211" y="387"/>
                </a:lnTo>
                <a:lnTo>
                  <a:pt x="211" y="347"/>
                </a:lnTo>
                <a:lnTo>
                  <a:pt x="211" y="331"/>
                </a:lnTo>
                <a:lnTo>
                  <a:pt x="211" y="291"/>
                </a:lnTo>
                <a:lnTo>
                  <a:pt x="192" y="266"/>
                </a:lnTo>
                <a:lnTo>
                  <a:pt x="192" y="226"/>
                </a:lnTo>
                <a:lnTo>
                  <a:pt x="202" y="194"/>
                </a:lnTo>
                <a:lnTo>
                  <a:pt x="211" y="161"/>
                </a:lnTo>
                <a:lnTo>
                  <a:pt x="220" y="137"/>
                </a:lnTo>
                <a:lnTo>
                  <a:pt x="211" y="97"/>
                </a:lnTo>
                <a:lnTo>
                  <a:pt x="211" y="73"/>
                </a:lnTo>
                <a:lnTo>
                  <a:pt x="211" y="56"/>
                </a:lnTo>
                <a:lnTo>
                  <a:pt x="247" y="56"/>
                </a:lnTo>
                <a:lnTo>
                  <a:pt x="312" y="56"/>
                </a:lnTo>
                <a:lnTo>
                  <a:pt x="367" y="56"/>
                </a:lnTo>
                <a:lnTo>
                  <a:pt x="403" y="48"/>
                </a:lnTo>
                <a:lnTo>
                  <a:pt x="412" y="32"/>
                </a:lnTo>
                <a:lnTo>
                  <a:pt x="431" y="16"/>
                </a:lnTo>
                <a:lnTo>
                  <a:pt x="431" y="0"/>
                </a:lnTo>
                <a:lnTo>
                  <a:pt x="467" y="0"/>
                </a:lnTo>
                <a:lnTo>
                  <a:pt x="495" y="8"/>
                </a:lnTo>
                <a:lnTo>
                  <a:pt x="532" y="40"/>
                </a:lnTo>
                <a:lnTo>
                  <a:pt x="568" y="73"/>
                </a:lnTo>
                <a:lnTo>
                  <a:pt x="614" y="97"/>
                </a:lnTo>
                <a:lnTo>
                  <a:pt x="660" y="81"/>
                </a:lnTo>
                <a:lnTo>
                  <a:pt x="669" y="65"/>
                </a:lnTo>
                <a:lnTo>
                  <a:pt x="742" y="89"/>
                </a:lnTo>
                <a:lnTo>
                  <a:pt x="724" y="97"/>
                </a:lnTo>
                <a:lnTo>
                  <a:pt x="687" y="121"/>
                </a:lnTo>
                <a:lnTo>
                  <a:pt x="642" y="145"/>
                </a:lnTo>
                <a:lnTo>
                  <a:pt x="614" y="145"/>
                </a:lnTo>
                <a:lnTo>
                  <a:pt x="596" y="145"/>
                </a:lnTo>
                <a:lnTo>
                  <a:pt x="550" y="178"/>
                </a:lnTo>
                <a:lnTo>
                  <a:pt x="504" y="226"/>
                </a:lnTo>
                <a:lnTo>
                  <a:pt x="486" y="266"/>
                </a:lnTo>
                <a:lnTo>
                  <a:pt x="467" y="299"/>
                </a:lnTo>
                <a:lnTo>
                  <a:pt x="431" y="339"/>
                </a:lnTo>
                <a:lnTo>
                  <a:pt x="422" y="387"/>
                </a:lnTo>
                <a:lnTo>
                  <a:pt x="394" y="387"/>
                </a:lnTo>
                <a:lnTo>
                  <a:pt x="394" y="412"/>
                </a:lnTo>
                <a:lnTo>
                  <a:pt x="394" y="468"/>
                </a:lnTo>
                <a:lnTo>
                  <a:pt x="376" y="541"/>
                </a:lnTo>
                <a:lnTo>
                  <a:pt x="357" y="573"/>
                </a:lnTo>
                <a:lnTo>
                  <a:pt x="321" y="581"/>
                </a:lnTo>
                <a:lnTo>
                  <a:pt x="321" y="622"/>
                </a:lnTo>
                <a:lnTo>
                  <a:pt x="302" y="654"/>
                </a:lnTo>
                <a:lnTo>
                  <a:pt x="312" y="686"/>
                </a:lnTo>
                <a:lnTo>
                  <a:pt x="293" y="710"/>
                </a:lnTo>
                <a:lnTo>
                  <a:pt x="238" y="735"/>
                </a:lnTo>
                <a:lnTo>
                  <a:pt x="229" y="767"/>
                </a:lnTo>
                <a:lnTo>
                  <a:pt x="183" y="767"/>
                </a:lnTo>
                <a:lnTo>
                  <a:pt x="156" y="775"/>
                </a:lnTo>
                <a:lnTo>
                  <a:pt x="128" y="807"/>
                </a:lnTo>
                <a:lnTo>
                  <a:pt x="73" y="839"/>
                </a:lnTo>
                <a:lnTo>
                  <a:pt x="28" y="856"/>
                </a:lnTo>
                <a:lnTo>
                  <a:pt x="9" y="880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2" name="Freeform 45" descr="Wide upward diagonal"/>
          <p:cNvSpPr>
            <a:spLocks/>
          </p:cNvSpPr>
          <p:nvPr>
            <p:custDataLst>
              <p:tags r:id="rId178"/>
            </p:custDataLst>
          </p:nvPr>
        </p:nvSpPr>
        <p:spPr bwMode="gray">
          <a:xfrm>
            <a:off x="7068269" y="1698186"/>
            <a:ext cx="671236" cy="568359"/>
          </a:xfrm>
          <a:custGeom>
            <a:avLst/>
            <a:gdLst>
              <a:gd name="T0" fmla="*/ 8 w 467"/>
              <a:gd name="T1" fmla="*/ 297 h 396"/>
              <a:gd name="T2" fmla="*/ 52 w 467"/>
              <a:gd name="T3" fmla="*/ 251 h 396"/>
              <a:gd name="T4" fmla="*/ 104 w 467"/>
              <a:gd name="T5" fmla="*/ 205 h 396"/>
              <a:gd name="T6" fmla="*/ 138 w 467"/>
              <a:gd name="T7" fmla="*/ 175 h 396"/>
              <a:gd name="T8" fmla="*/ 104 w 467"/>
              <a:gd name="T9" fmla="*/ 122 h 396"/>
              <a:gd name="T10" fmla="*/ 77 w 467"/>
              <a:gd name="T11" fmla="*/ 99 h 396"/>
              <a:gd name="T12" fmla="*/ 52 w 467"/>
              <a:gd name="T13" fmla="*/ 54 h 396"/>
              <a:gd name="T14" fmla="*/ 52 w 467"/>
              <a:gd name="T15" fmla="*/ 8 h 396"/>
              <a:gd name="T16" fmla="*/ 121 w 467"/>
              <a:gd name="T17" fmla="*/ 8 h 396"/>
              <a:gd name="T18" fmla="*/ 155 w 467"/>
              <a:gd name="T19" fmla="*/ 46 h 396"/>
              <a:gd name="T20" fmla="*/ 129 w 467"/>
              <a:gd name="T21" fmla="*/ 76 h 396"/>
              <a:gd name="T22" fmla="*/ 138 w 467"/>
              <a:gd name="T23" fmla="*/ 122 h 396"/>
              <a:gd name="T24" fmla="*/ 198 w 467"/>
              <a:gd name="T25" fmla="*/ 122 h 396"/>
              <a:gd name="T26" fmla="*/ 241 w 467"/>
              <a:gd name="T27" fmla="*/ 115 h 396"/>
              <a:gd name="T28" fmla="*/ 241 w 467"/>
              <a:gd name="T29" fmla="*/ 160 h 396"/>
              <a:gd name="T30" fmla="*/ 328 w 467"/>
              <a:gd name="T31" fmla="*/ 175 h 396"/>
              <a:gd name="T32" fmla="*/ 397 w 467"/>
              <a:gd name="T33" fmla="*/ 84 h 396"/>
              <a:gd name="T34" fmla="*/ 353 w 467"/>
              <a:gd name="T35" fmla="*/ 61 h 396"/>
              <a:gd name="T36" fmla="*/ 328 w 467"/>
              <a:gd name="T37" fmla="*/ 39 h 396"/>
              <a:gd name="T38" fmla="*/ 380 w 467"/>
              <a:gd name="T39" fmla="*/ 8 h 396"/>
              <a:gd name="T40" fmla="*/ 415 w 467"/>
              <a:gd name="T41" fmla="*/ 8 h 396"/>
              <a:gd name="T42" fmla="*/ 432 w 467"/>
              <a:gd name="T43" fmla="*/ 24 h 396"/>
              <a:gd name="T44" fmla="*/ 432 w 467"/>
              <a:gd name="T45" fmla="*/ 31 h 396"/>
              <a:gd name="T46" fmla="*/ 415 w 467"/>
              <a:gd name="T47" fmla="*/ 54 h 396"/>
              <a:gd name="T48" fmla="*/ 415 w 467"/>
              <a:gd name="T49" fmla="*/ 76 h 396"/>
              <a:gd name="T50" fmla="*/ 432 w 467"/>
              <a:gd name="T51" fmla="*/ 76 h 396"/>
              <a:gd name="T52" fmla="*/ 432 w 467"/>
              <a:gd name="T53" fmla="*/ 99 h 396"/>
              <a:gd name="T54" fmla="*/ 423 w 467"/>
              <a:gd name="T55" fmla="*/ 115 h 396"/>
              <a:gd name="T56" fmla="*/ 405 w 467"/>
              <a:gd name="T57" fmla="*/ 122 h 396"/>
              <a:gd name="T58" fmla="*/ 415 w 467"/>
              <a:gd name="T59" fmla="*/ 130 h 396"/>
              <a:gd name="T60" fmla="*/ 405 w 467"/>
              <a:gd name="T61" fmla="*/ 145 h 396"/>
              <a:gd name="T62" fmla="*/ 423 w 467"/>
              <a:gd name="T63" fmla="*/ 153 h 396"/>
              <a:gd name="T64" fmla="*/ 432 w 467"/>
              <a:gd name="T65" fmla="*/ 153 h 396"/>
              <a:gd name="T66" fmla="*/ 440 w 467"/>
              <a:gd name="T67" fmla="*/ 168 h 396"/>
              <a:gd name="T68" fmla="*/ 432 w 467"/>
              <a:gd name="T69" fmla="*/ 175 h 396"/>
              <a:gd name="T70" fmla="*/ 440 w 467"/>
              <a:gd name="T71" fmla="*/ 190 h 396"/>
              <a:gd name="T72" fmla="*/ 432 w 467"/>
              <a:gd name="T73" fmla="*/ 190 h 396"/>
              <a:gd name="T74" fmla="*/ 432 w 467"/>
              <a:gd name="T75" fmla="*/ 198 h 396"/>
              <a:gd name="T76" fmla="*/ 423 w 467"/>
              <a:gd name="T77" fmla="*/ 198 h 396"/>
              <a:gd name="T78" fmla="*/ 432 w 467"/>
              <a:gd name="T79" fmla="*/ 205 h 396"/>
              <a:gd name="T80" fmla="*/ 432 w 467"/>
              <a:gd name="T81" fmla="*/ 205 h 396"/>
              <a:gd name="T82" fmla="*/ 432 w 467"/>
              <a:gd name="T83" fmla="*/ 221 h 396"/>
              <a:gd name="T84" fmla="*/ 432 w 467"/>
              <a:gd name="T85" fmla="*/ 221 h 396"/>
              <a:gd name="T86" fmla="*/ 423 w 467"/>
              <a:gd name="T87" fmla="*/ 229 h 396"/>
              <a:gd name="T88" fmla="*/ 415 w 467"/>
              <a:gd name="T89" fmla="*/ 236 h 396"/>
              <a:gd name="T90" fmla="*/ 415 w 467"/>
              <a:gd name="T91" fmla="*/ 236 h 396"/>
              <a:gd name="T92" fmla="*/ 405 w 467"/>
              <a:gd name="T93" fmla="*/ 244 h 396"/>
              <a:gd name="T94" fmla="*/ 405 w 467"/>
              <a:gd name="T95" fmla="*/ 244 h 396"/>
              <a:gd name="T96" fmla="*/ 405 w 467"/>
              <a:gd name="T97" fmla="*/ 251 h 396"/>
              <a:gd name="T98" fmla="*/ 405 w 467"/>
              <a:gd name="T99" fmla="*/ 267 h 396"/>
              <a:gd name="T100" fmla="*/ 405 w 467"/>
              <a:gd name="T101" fmla="*/ 267 h 396"/>
              <a:gd name="T102" fmla="*/ 405 w 467"/>
              <a:gd name="T103" fmla="*/ 267 h 396"/>
              <a:gd name="T104" fmla="*/ 415 w 467"/>
              <a:gd name="T105" fmla="*/ 274 h 396"/>
              <a:gd name="T106" fmla="*/ 432 w 467"/>
              <a:gd name="T107" fmla="*/ 312 h 396"/>
              <a:gd name="T108" fmla="*/ 380 w 467"/>
              <a:gd name="T109" fmla="*/ 312 h 396"/>
              <a:gd name="T110" fmla="*/ 345 w 467"/>
              <a:gd name="T111" fmla="*/ 365 h 396"/>
              <a:gd name="T112" fmla="*/ 224 w 467"/>
              <a:gd name="T113" fmla="*/ 365 h 396"/>
              <a:gd name="T114" fmla="*/ 189 w 467"/>
              <a:gd name="T115" fmla="*/ 373 h 396"/>
              <a:gd name="T116" fmla="*/ 138 w 467"/>
              <a:gd name="T117" fmla="*/ 328 h 396"/>
              <a:gd name="T118" fmla="*/ 25 w 467"/>
              <a:gd name="T119" fmla="*/ 312 h 39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67" h="396">
                <a:moveTo>
                  <a:pt x="0" y="323"/>
                </a:moveTo>
                <a:lnTo>
                  <a:pt x="9" y="315"/>
                </a:lnTo>
                <a:lnTo>
                  <a:pt x="27" y="283"/>
                </a:lnTo>
                <a:lnTo>
                  <a:pt x="55" y="267"/>
                </a:lnTo>
                <a:lnTo>
                  <a:pt x="82" y="243"/>
                </a:lnTo>
                <a:lnTo>
                  <a:pt x="110" y="218"/>
                </a:lnTo>
                <a:lnTo>
                  <a:pt x="174" y="210"/>
                </a:lnTo>
                <a:lnTo>
                  <a:pt x="146" y="186"/>
                </a:lnTo>
                <a:lnTo>
                  <a:pt x="119" y="162"/>
                </a:lnTo>
                <a:lnTo>
                  <a:pt x="110" y="130"/>
                </a:lnTo>
                <a:lnTo>
                  <a:pt x="82" y="113"/>
                </a:lnTo>
                <a:lnTo>
                  <a:pt x="82" y="105"/>
                </a:lnTo>
                <a:lnTo>
                  <a:pt x="73" y="81"/>
                </a:lnTo>
                <a:lnTo>
                  <a:pt x="55" y="57"/>
                </a:lnTo>
                <a:lnTo>
                  <a:pt x="55" y="41"/>
                </a:lnTo>
                <a:lnTo>
                  <a:pt x="55" y="9"/>
                </a:lnTo>
                <a:lnTo>
                  <a:pt x="82" y="9"/>
                </a:lnTo>
                <a:lnTo>
                  <a:pt x="128" y="9"/>
                </a:lnTo>
                <a:lnTo>
                  <a:pt x="165" y="33"/>
                </a:lnTo>
                <a:lnTo>
                  <a:pt x="165" y="49"/>
                </a:lnTo>
                <a:lnTo>
                  <a:pt x="137" y="65"/>
                </a:lnTo>
                <a:lnTo>
                  <a:pt x="137" y="81"/>
                </a:lnTo>
                <a:lnTo>
                  <a:pt x="119" y="105"/>
                </a:lnTo>
                <a:lnTo>
                  <a:pt x="146" y="130"/>
                </a:lnTo>
                <a:lnTo>
                  <a:pt x="183" y="146"/>
                </a:lnTo>
                <a:lnTo>
                  <a:pt x="210" y="130"/>
                </a:lnTo>
                <a:lnTo>
                  <a:pt x="229" y="130"/>
                </a:lnTo>
                <a:lnTo>
                  <a:pt x="256" y="122"/>
                </a:lnTo>
                <a:lnTo>
                  <a:pt x="265" y="138"/>
                </a:lnTo>
                <a:lnTo>
                  <a:pt x="256" y="170"/>
                </a:lnTo>
                <a:lnTo>
                  <a:pt x="302" y="210"/>
                </a:lnTo>
                <a:lnTo>
                  <a:pt x="348" y="186"/>
                </a:lnTo>
                <a:lnTo>
                  <a:pt x="375" y="130"/>
                </a:lnTo>
                <a:lnTo>
                  <a:pt x="421" y="89"/>
                </a:lnTo>
                <a:lnTo>
                  <a:pt x="412" y="81"/>
                </a:lnTo>
                <a:lnTo>
                  <a:pt x="375" y="65"/>
                </a:lnTo>
                <a:lnTo>
                  <a:pt x="320" y="49"/>
                </a:lnTo>
                <a:lnTo>
                  <a:pt x="348" y="41"/>
                </a:lnTo>
                <a:lnTo>
                  <a:pt x="375" y="33"/>
                </a:lnTo>
                <a:lnTo>
                  <a:pt x="403" y="9"/>
                </a:lnTo>
                <a:lnTo>
                  <a:pt x="440" y="0"/>
                </a:lnTo>
                <a:lnTo>
                  <a:pt x="440" y="9"/>
                </a:lnTo>
                <a:lnTo>
                  <a:pt x="458" y="9"/>
                </a:lnTo>
                <a:lnTo>
                  <a:pt x="458" y="25"/>
                </a:lnTo>
                <a:lnTo>
                  <a:pt x="458" y="33"/>
                </a:lnTo>
                <a:lnTo>
                  <a:pt x="449" y="49"/>
                </a:lnTo>
                <a:lnTo>
                  <a:pt x="440" y="57"/>
                </a:lnTo>
                <a:lnTo>
                  <a:pt x="440" y="73"/>
                </a:lnTo>
                <a:lnTo>
                  <a:pt x="440" y="81"/>
                </a:lnTo>
                <a:lnTo>
                  <a:pt x="449" y="81"/>
                </a:lnTo>
                <a:lnTo>
                  <a:pt x="458" y="81"/>
                </a:lnTo>
                <a:lnTo>
                  <a:pt x="458" y="89"/>
                </a:lnTo>
                <a:lnTo>
                  <a:pt x="458" y="105"/>
                </a:lnTo>
                <a:lnTo>
                  <a:pt x="449" y="122"/>
                </a:lnTo>
                <a:lnTo>
                  <a:pt x="440" y="130"/>
                </a:lnTo>
                <a:lnTo>
                  <a:pt x="430" y="130"/>
                </a:lnTo>
                <a:lnTo>
                  <a:pt x="440" y="138"/>
                </a:lnTo>
                <a:lnTo>
                  <a:pt x="440" y="146"/>
                </a:lnTo>
                <a:lnTo>
                  <a:pt x="430" y="154"/>
                </a:lnTo>
                <a:lnTo>
                  <a:pt x="440" y="154"/>
                </a:lnTo>
                <a:lnTo>
                  <a:pt x="449" y="162"/>
                </a:lnTo>
                <a:lnTo>
                  <a:pt x="458" y="162"/>
                </a:lnTo>
                <a:lnTo>
                  <a:pt x="458" y="170"/>
                </a:lnTo>
                <a:lnTo>
                  <a:pt x="467" y="178"/>
                </a:lnTo>
                <a:lnTo>
                  <a:pt x="458" y="186"/>
                </a:lnTo>
                <a:lnTo>
                  <a:pt x="467" y="194"/>
                </a:lnTo>
                <a:lnTo>
                  <a:pt x="467" y="202"/>
                </a:lnTo>
                <a:lnTo>
                  <a:pt x="458" y="194"/>
                </a:lnTo>
                <a:lnTo>
                  <a:pt x="458" y="202"/>
                </a:lnTo>
                <a:lnTo>
                  <a:pt x="458" y="210"/>
                </a:lnTo>
                <a:lnTo>
                  <a:pt x="449" y="210"/>
                </a:lnTo>
                <a:lnTo>
                  <a:pt x="449" y="218"/>
                </a:lnTo>
                <a:lnTo>
                  <a:pt x="458" y="218"/>
                </a:lnTo>
                <a:lnTo>
                  <a:pt x="458" y="226"/>
                </a:lnTo>
                <a:lnTo>
                  <a:pt x="458" y="218"/>
                </a:lnTo>
                <a:lnTo>
                  <a:pt x="458" y="226"/>
                </a:lnTo>
                <a:lnTo>
                  <a:pt x="458" y="235"/>
                </a:lnTo>
                <a:lnTo>
                  <a:pt x="449" y="235"/>
                </a:lnTo>
                <a:lnTo>
                  <a:pt x="449" y="243"/>
                </a:lnTo>
                <a:lnTo>
                  <a:pt x="440" y="243"/>
                </a:lnTo>
                <a:lnTo>
                  <a:pt x="440" y="251"/>
                </a:lnTo>
                <a:lnTo>
                  <a:pt x="449" y="251"/>
                </a:lnTo>
                <a:lnTo>
                  <a:pt x="440" y="251"/>
                </a:lnTo>
                <a:lnTo>
                  <a:pt x="440" y="259"/>
                </a:lnTo>
                <a:lnTo>
                  <a:pt x="430" y="259"/>
                </a:lnTo>
                <a:lnTo>
                  <a:pt x="430" y="267"/>
                </a:lnTo>
                <a:lnTo>
                  <a:pt x="430" y="275"/>
                </a:lnTo>
                <a:lnTo>
                  <a:pt x="430" y="283"/>
                </a:lnTo>
                <a:lnTo>
                  <a:pt x="430" y="291"/>
                </a:lnTo>
                <a:lnTo>
                  <a:pt x="440" y="291"/>
                </a:lnTo>
                <a:lnTo>
                  <a:pt x="440" y="315"/>
                </a:lnTo>
                <a:lnTo>
                  <a:pt x="458" y="331"/>
                </a:lnTo>
                <a:lnTo>
                  <a:pt x="430" y="339"/>
                </a:lnTo>
                <a:lnTo>
                  <a:pt x="403" y="331"/>
                </a:lnTo>
                <a:lnTo>
                  <a:pt x="375" y="348"/>
                </a:lnTo>
                <a:lnTo>
                  <a:pt x="366" y="388"/>
                </a:lnTo>
                <a:lnTo>
                  <a:pt x="320" y="388"/>
                </a:lnTo>
                <a:lnTo>
                  <a:pt x="238" y="388"/>
                </a:lnTo>
                <a:lnTo>
                  <a:pt x="220" y="388"/>
                </a:lnTo>
                <a:lnTo>
                  <a:pt x="201" y="396"/>
                </a:lnTo>
                <a:lnTo>
                  <a:pt x="165" y="372"/>
                </a:lnTo>
                <a:lnTo>
                  <a:pt x="146" y="348"/>
                </a:lnTo>
                <a:lnTo>
                  <a:pt x="64" y="339"/>
                </a:lnTo>
                <a:lnTo>
                  <a:pt x="27" y="331"/>
                </a:lnTo>
                <a:lnTo>
                  <a:pt x="0" y="323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3" name="Freeform 46" descr="Wide upward diagonal"/>
          <p:cNvSpPr>
            <a:spLocks/>
          </p:cNvSpPr>
          <p:nvPr>
            <p:custDataLst>
              <p:tags r:id="rId179"/>
            </p:custDataLst>
          </p:nvPr>
        </p:nvSpPr>
        <p:spPr bwMode="gray">
          <a:xfrm>
            <a:off x="5580394" y="2858401"/>
            <a:ext cx="881273" cy="728438"/>
          </a:xfrm>
          <a:custGeom>
            <a:avLst/>
            <a:gdLst>
              <a:gd name="T0" fmla="*/ 17 w 614"/>
              <a:gd name="T1" fmla="*/ 349 h 508"/>
              <a:gd name="T2" fmla="*/ 0 w 614"/>
              <a:gd name="T3" fmla="*/ 304 h 508"/>
              <a:gd name="T4" fmla="*/ 8 w 614"/>
              <a:gd name="T5" fmla="*/ 273 h 508"/>
              <a:gd name="T6" fmla="*/ 52 w 614"/>
              <a:gd name="T7" fmla="*/ 235 h 508"/>
              <a:gd name="T8" fmla="*/ 112 w 614"/>
              <a:gd name="T9" fmla="*/ 167 h 508"/>
              <a:gd name="T10" fmla="*/ 120 w 614"/>
              <a:gd name="T11" fmla="*/ 121 h 508"/>
              <a:gd name="T12" fmla="*/ 207 w 614"/>
              <a:gd name="T13" fmla="*/ 0 h 508"/>
              <a:gd name="T14" fmla="*/ 233 w 614"/>
              <a:gd name="T15" fmla="*/ 15 h 508"/>
              <a:gd name="T16" fmla="*/ 259 w 614"/>
              <a:gd name="T17" fmla="*/ 0 h 508"/>
              <a:gd name="T18" fmla="*/ 302 w 614"/>
              <a:gd name="T19" fmla="*/ 15 h 508"/>
              <a:gd name="T20" fmla="*/ 336 w 614"/>
              <a:gd name="T21" fmla="*/ 0 h 508"/>
              <a:gd name="T22" fmla="*/ 362 w 614"/>
              <a:gd name="T23" fmla="*/ 8 h 508"/>
              <a:gd name="T24" fmla="*/ 397 w 614"/>
              <a:gd name="T25" fmla="*/ 15 h 508"/>
              <a:gd name="T26" fmla="*/ 440 w 614"/>
              <a:gd name="T27" fmla="*/ 8 h 508"/>
              <a:gd name="T28" fmla="*/ 440 w 614"/>
              <a:gd name="T29" fmla="*/ 45 h 508"/>
              <a:gd name="T30" fmla="*/ 440 w 614"/>
              <a:gd name="T31" fmla="*/ 91 h 508"/>
              <a:gd name="T32" fmla="*/ 431 w 614"/>
              <a:gd name="T33" fmla="*/ 114 h 508"/>
              <a:gd name="T34" fmla="*/ 414 w 614"/>
              <a:gd name="T35" fmla="*/ 144 h 508"/>
              <a:gd name="T36" fmla="*/ 388 w 614"/>
              <a:gd name="T37" fmla="*/ 174 h 508"/>
              <a:gd name="T38" fmla="*/ 371 w 614"/>
              <a:gd name="T39" fmla="*/ 205 h 508"/>
              <a:gd name="T40" fmla="*/ 406 w 614"/>
              <a:gd name="T41" fmla="*/ 205 h 508"/>
              <a:gd name="T42" fmla="*/ 423 w 614"/>
              <a:gd name="T43" fmla="*/ 228 h 508"/>
              <a:gd name="T44" fmla="*/ 431 w 614"/>
              <a:gd name="T45" fmla="*/ 265 h 508"/>
              <a:gd name="T46" fmla="*/ 491 w 614"/>
              <a:gd name="T47" fmla="*/ 304 h 508"/>
              <a:gd name="T48" fmla="*/ 526 w 614"/>
              <a:gd name="T49" fmla="*/ 334 h 508"/>
              <a:gd name="T50" fmla="*/ 535 w 614"/>
              <a:gd name="T51" fmla="*/ 342 h 508"/>
              <a:gd name="T52" fmla="*/ 561 w 614"/>
              <a:gd name="T53" fmla="*/ 342 h 508"/>
              <a:gd name="T54" fmla="*/ 578 w 614"/>
              <a:gd name="T55" fmla="*/ 379 h 508"/>
              <a:gd name="T56" fmla="*/ 570 w 614"/>
              <a:gd name="T57" fmla="*/ 403 h 508"/>
              <a:gd name="T58" fmla="*/ 553 w 614"/>
              <a:gd name="T59" fmla="*/ 433 h 508"/>
              <a:gd name="T60" fmla="*/ 518 w 614"/>
              <a:gd name="T61" fmla="*/ 433 h 508"/>
              <a:gd name="T62" fmla="*/ 474 w 614"/>
              <a:gd name="T63" fmla="*/ 455 h 508"/>
              <a:gd name="T64" fmla="*/ 440 w 614"/>
              <a:gd name="T65" fmla="*/ 470 h 508"/>
              <a:gd name="T66" fmla="*/ 414 w 614"/>
              <a:gd name="T67" fmla="*/ 478 h 508"/>
              <a:gd name="T68" fmla="*/ 388 w 614"/>
              <a:gd name="T69" fmla="*/ 470 h 508"/>
              <a:gd name="T70" fmla="*/ 362 w 614"/>
              <a:gd name="T71" fmla="*/ 455 h 508"/>
              <a:gd name="T72" fmla="*/ 319 w 614"/>
              <a:gd name="T73" fmla="*/ 448 h 508"/>
              <a:gd name="T74" fmla="*/ 284 w 614"/>
              <a:gd name="T75" fmla="*/ 463 h 508"/>
              <a:gd name="T76" fmla="*/ 233 w 614"/>
              <a:gd name="T77" fmla="*/ 455 h 508"/>
              <a:gd name="T78" fmla="*/ 233 w 614"/>
              <a:gd name="T79" fmla="*/ 433 h 508"/>
              <a:gd name="T80" fmla="*/ 138 w 614"/>
              <a:gd name="T81" fmla="*/ 372 h 508"/>
              <a:gd name="T82" fmla="*/ 60 w 614"/>
              <a:gd name="T83" fmla="*/ 357 h 508"/>
              <a:gd name="T84" fmla="*/ 17 w 614"/>
              <a:gd name="T85" fmla="*/ 349 h 50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14" h="508">
                <a:moveTo>
                  <a:pt x="18" y="371"/>
                </a:moveTo>
                <a:lnTo>
                  <a:pt x="0" y="323"/>
                </a:lnTo>
                <a:lnTo>
                  <a:pt x="9" y="290"/>
                </a:lnTo>
                <a:lnTo>
                  <a:pt x="55" y="250"/>
                </a:lnTo>
                <a:lnTo>
                  <a:pt x="119" y="177"/>
                </a:lnTo>
                <a:lnTo>
                  <a:pt x="128" y="129"/>
                </a:lnTo>
                <a:lnTo>
                  <a:pt x="220" y="0"/>
                </a:lnTo>
                <a:lnTo>
                  <a:pt x="247" y="16"/>
                </a:lnTo>
                <a:lnTo>
                  <a:pt x="275" y="0"/>
                </a:lnTo>
                <a:lnTo>
                  <a:pt x="321" y="16"/>
                </a:lnTo>
                <a:lnTo>
                  <a:pt x="357" y="0"/>
                </a:lnTo>
                <a:lnTo>
                  <a:pt x="385" y="8"/>
                </a:lnTo>
                <a:lnTo>
                  <a:pt x="422" y="16"/>
                </a:lnTo>
                <a:lnTo>
                  <a:pt x="467" y="8"/>
                </a:lnTo>
                <a:lnTo>
                  <a:pt x="467" y="48"/>
                </a:lnTo>
                <a:lnTo>
                  <a:pt x="467" y="97"/>
                </a:lnTo>
                <a:lnTo>
                  <a:pt x="458" y="121"/>
                </a:lnTo>
                <a:lnTo>
                  <a:pt x="440" y="153"/>
                </a:lnTo>
                <a:lnTo>
                  <a:pt x="412" y="185"/>
                </a:lnTo>
                <a:lnTo>
                  <a:pt x="394" y="218"/>
                </a:lnTo>
                <a:lnTo>
                  <a:pt x="431" y="218"/>
                </a:lnTo>
                <a:lnTo>
                  <a:pt x="449" y="242"/>
                </a:lnTo>
                <a:lnTo>
                  <a:pt x="458" y="282"/>
                </a:lnTo>
                <a:lnTo>
                  <a:pt x="522" y="323"/>
                </a:lnTo>
                <a:lnTo>
                  <a:pt x="559" y="355"/>
                </a:lnTo>
                <a:lnTo>
                  <a:pt x="568" y="363"/>
                </a:lnTo>
                <a:lnTo>
                  <a:pt x="596" y="363"/>
                </a:lnTo>
                <a:lnTo>
                  <a:pt x="614" y="403"/>
                </a:lnTo>
                <a:lnTo>
                  <a:pt x="605" y="428"/>
                </a:lnTo>
                <a:lnTo>
                  <a:pt x="587" y="460"/>
                </a:lnTo>
                <a:lnTo>
                  <a:pt x="550" y="460"/>
                </a:lnTo>
                <a:lnTo>
                  <a:pt x="504" y="484"/>
                </a:lnTo>
                <a:lnTo>
                  <a:pt x="467" y="500"/>
                </a:lnTo>
                <a:lnTo>
                  <a:pt x="440" y="508"/>
                </a:lnTo>
                <a:lnTo>
                  <a:pt x="412" y="500"/>
                </a:lnTo>
                <a:lnTo>
                  <a:pt x="385" y="484"/>
                </a:lnTo>
                <a:lnTo>
                  <a:pt x="339" y="476"/>
                </a:lnTo>
                <a:lnTo>
                  <a:pt x="302" y="492"/>
                </a:lnTo>
                <a:lnTo>
                  <a:pt x="247" y="484"/>
                </a:lnTo>
                <a:lnTo>
                  <a:pt x="247" y="460"/>
                </a:lnTo>
                <a:lnTo>
                  <a:pt x="147" y="395"/>
                </a:lnTo>
                <a:lnTo>
                  <a:pt x="64" y="379"/>
                </a:lnTo>
                <a:lnTo>
                  <a:pt x="18" y="371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4" name="Rectangle 110"/>
          <p:cNvSpPr>
            <a:spLocks noChangeArrowheads="1"/>
          </p:cNvSpPr>
          <p:nvPr>
            <p:custDataLst>
              <p:tags r:id="rId180"/>
            </p:custDataLst>
          </p:nvPr>
        </p:nvSpPr>
        <p:spPr bwMode="gray">
          <a:xfrm>
            <a:off x="7159334" y="2053354"/>
            <a:ext cx="509670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Rawalpindi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15" name="Rectangle 127"/>
          <p:cNvSpPr>
            <a:spLocks noChangeArrowheads="1"/>
          </p:cNvSpPr>
          <p:nvPr>
            <p:custDataLst>
              <p:tags r:id="rId181"/>
            </p:custDataLst>
          </p:nvPr>
        </p:nvSpPr>
        <p:spPr bwMode="gray">
          <a:xfrm>
            <a:off x="5739016" y="3193255"/>
            <a:ext cx="38402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Bhakkar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16" name="Freeform 146"/>
          <p:cNvSpPr>
            <a:spLocks/>
          </p:cNvSpPr>
          <p:nvPr>
            <p:custDataLst>
              <p:tags r:id="rId182"/>
            </p:custDataLst>
          </p:nvPr>
        </p:nvSpPr>
        <p:spPr bwMode="gray">
          <a:xfrm>
            <a:off x="6988962" y="2174021"/>
            <a:ext cx="932680" cy="566889"/>
          </a:xfrm>
          <a:custGeom>
            <a:avLst/>
            <a:gdLst>
              <a:gd name="T0" fmla="*/ 276 w 650"/>
              <a:gd name="T1" fmla="*/ 54 h 396"/>
              <a:gd name="T2" fmla="*/ 353 w 650"/>
              <a:gd name="T3" fmla="*/ 54 h 396"/>
              <a:gd name="T4" fmla="*/ 396 w 650"/>
              <a:gd name="T5" fmla="*/ 54 h 396"/>
              <a:gd name="T6" fmla="*/ 405 w 650"/>
              <a:gd name="T7" fmla="*/ 16 h 396"/>
              <a:gd name="T8" fmla="*/ 431 w 650"/>
              <a:gd name="T9" fmla="*/ 0 h 396"/>
              <a:gd name="T10" fmla="*/ 457 w 650"/>
              <a:gd name="T11" fmla="*/ 8 h 396"/>
              <a:gd name="T12" fmla="*/ 483 w 650"/>
              <a:gd name="T13" fmla="*/ 0 h 396"/>
              <a:gd name="T14" fmla="*/ 483 w 650"/>
              <a:gd name="T15" fmla="*/ 16 h 396"/>
              <a:gd name="T16" fmla="*/ 500 w 650"/>
              <a:gd name="T17" fmla="*/ 54 h 396"/>
              <a:gd name="T18" fmla="*/ 500 w 650"/>
              <a:gd name="T19" fmla="*/ 54 h 396"/>
              <a:gd name="T20" fmla="*/ 491 w 650"/>
              <a:gd name="T21" fmla="*/ 76 h 396"/>
              <a:gd name="T22" fmla="*/ 543 w 650"/>
              <a:gd name="T23" fmla="*/ 91 h 396"/>
              <a:gd name="T24" fmla="*/ 560 w 650"/>
              <a:gd name="T25" fmla="*/ 114 h 396"/>
              <a:gd name="T26" fmla="*/ 587 w 650"/>
              <a:gd name="T27" fmla="*/ 114 h 396"/>
              <a:gd name="T28" fmla="*/ 595 w 650"/>
              <a:gd name="T29" fmla="*/ 114 h 396"/>
              <a:gd name="T30" fmla="*/ 604 w 650"/>
              <a:gd name="T31" fmla="*/ 122 h 396"/>
              <a:gd name="T32" fmla="*/ 612 w 650"/>
              <a:gd name="T33" fmla="*/ 114 h 396"/>
              <a:gd name="T34" fmla="*/ 612 w 650"/>
              <a:gd name="T35" fmla="*/ 122 h 396"/>
              <a:gd name="T36" fmla="*/ 604 w 650"/>
              <a:gd name="T37" fmla="*/ 153 h 396"/>
              <a:gd name="T38" fmla="*/ 526 w 650"/>
              <a:gd name="T39" fmla="*/ 175 h 396"/>
              <a:gd name="T40" fmla="*/ 466 w 650"/>
              <a:gd name="T41" fmla="*/ 198 h 396"/>
              <a:gd name="T42" fmla="*/ 448 w 650"/>
              <a:gd name="T43" fmla="*/ 221 h 396"/>
              <a:gd name="T44" fmla="*/ 431 w 650"/>
              <a:gd name="T45" fmla="*/ 251 h 396"/>
              <a:gd name="T46" fmla="*/ 379 w 650"/>
              <a:gd name="T47" fmla="*/ 267 h 396"/>
              <a:gd name="T48" fmla="*/ 319 w 650"/>
              <a:gd name="T49" fmla="*/ 274 h 396"/>
              <a:gd name="T50" fmla="*/ 276 w 650"/>
              <a:gd name="T51" fmla="*/ 289 h 396"/>
              <a:gd name="T52" fmla="*/ 241 w 650"/>
              <a:gd name="T53" fmla="*/ 297 h 396"/>
              <a:gd name="T54" fmla="*/ 155 w 650"/>
              <a:gd name="T55" fmla="*/ 319 h 396"/>
              <a:gd name="T56" fmla="*/ 104 w 650"/>
              <a:gd name="T57" fmla="*/ 350 h 396"/>
              <a:gd name="T58" fmla="*/ 34 w 650"/>
              <a:gd name="T59" fmla="*/ 373 h 396"/>
              <a:gd name="T60" fmla="*/ 0 w 650"/>
              <a:gd name="T61" fmla="*/ 350 h 396"/>
              <a:gd name="T62" fmla="*/ 0 w 650"/>
              <a:gd name="T63" fmla="*/ 304 h 396"/>
              <a:gd name="T64" fmla="*/ 8 w 650"/>
              <a:gd name="T65" fmla="*/ 274 h 396"/>
              <a:gd name="T66" fmla="*/ 52 w 650"/>
              <a:gd name="T67" fmla="*/ 267 h 396"/>
              <a:gd name="T68" fmla="*/ 77 w 650"/>
              <a:gd name="T69" fmla="*/ 259 h 396"/>
              <a:gd name="T70" fmla="*/ 112 w 650"/>
              <a:gd name="T71" fmla="*/ 267 h 396"/>
              <a:gd name="T72" fmla="*/ 146 w 650"/>
              <a:gd name="T73" fmla="*/ 267 h 396"/>
              <a:gd name="T74" fmla="*/ 181 w 650"/>
              <a:gd name="T75" fmla="*/ 251 h 396"/>
              <a:gd name="T76" fmla="*/ 224 w 650"/>
              <a:gd name="T77" fmla="*/ 236 h 396"/>
              <a:gd name="T78" fmla="*/ 276 w 650"/>
              <a:gd name="T79" fmla="*/ 229 h 396"/>
              <a:gd name="T80" fmla="*/ 293 w 650"/>
              <a:gd name="T81" fmla="*/ 213 h 396"/>
              <a:gd name="T82" fmla="*/ 276 w 650"/>
              <a:gd name="T83" fmla="*/ 198 h 396"/>
              <a:gd name="T84" fmla="*/ 259 w 650"/>
              <a:gd name="T85" fmla="*/ 175 h 396"/>
              <a:gd name="T86" fmla="*/ 259 w 650"/>
              <a:gd name="T87" fmla="*/ 153 h 396"/>
              <a:gd name="T88" fmla="*/ 276 w 650"/>
              <a:gd name="T89" fmla="*/ 114 h 396"/>
              <a:gd name="T90" fmla="*/ 276 w 650"/>
              <a:gd name="T91" fmla="*/ 99 h 396"/>
              <a:gd name="T92" fmla="*/ 267 w 650"/>
              <a:gd name="T93" fmla="*/ 76 h 396"/>
              <a:gd name="T94" fmla="*/ 276 w 650"/>
              <a:gd name="T95" fmla="*/ 54 h 39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50" h="396">
                <a:moveTo>
                  <a:pt x="293" y="57"/>
                </a:moveTo>
                <a:lnTo>
                  <a:pt x="375" y="57"/>
                </a:lnTo>
                <a:lnTo>
                  <a:pt x="421" y="57"/>
                </a:lnTo>
                <a:lnTo>
                  <a:pt x="430" y="17"/>
                </a:lnTo>
                <a:lnTo>
                  <a:pt x="458" y="0"/>
                </a:lnTo>
                <a:lnTo>
                  <a:pt x="485" y="8"/>
                </a:lnTo>
                <a:lnTo>
                  <a:pt x="513" y="0"/>
                </a:lnTo>
                <a:lnTo>
                  <a:pt x="513" y="17"/>
                </a:lnTo>
                <a:lnTo>
                  <a:pt x="531" y="57"/>
                </a:lnTo>
                <a:lnTo>
                  <a:pt x="522" y="81"/>
                </a:lnTo>
                <a:lnTo>
                  <a:pt x="577" y="97"/>
                </a:lnTo>
                <a:lnTo>
                  <a:pt x="595" y="121"/>
                </a:lnTo>
                <a:lnTo>
                  <a:pt x="623" y="121"/>
                </a:lnTo>
                <a:lnTo>
                  <a:pt x="632" y="121"/>
                </a:lnTo>
                <a:lnTo>
                  <a:pt x="641" y="130"/>
                </a:lnTo>
                <a:lnTo>
                  <a:pt x="650" y="121"/>
                </a:lnTo>
                <a:lnTo>
                  <a:pt x="650" y="130"/>
                </a:lnTo>
                <a:lnTo>
                  <a:pt x="641" y="162"/>
                </a:lnTo>
                <a:lnTo>
                  <a:pt x="559" y="186"/>
                </a:lnTo>
                <a:lnTo>
                  <a:pt x="495" y="210"/>
                </a:lnTo>
                <a:lnTo>
                  <a:pt x="476" y="235"/>
                </a:lnTo>
                <a:lnTo>
                  <a:pt x="458" y="267"/>
                </a:lnTo>
                <a:lnTo>
                  <a:pt x="403" y="283"/>
                </a:lnTo>
                <a:lnTo>
                  <a:pt x="339" y="291"/>
                </a:lnTo>
                <a:lnTo>
                  <a:pt x="293" y="307"/>
                </a:lnTo>
                <a:lnTo>
                  <a:pt x="256" y="315"/>
                </a:lnTo>
                <a:lnTo>
                  <a:pt x="165" y="339"/>
                </a:lnTo>
                <a:lnTo>
                  <a:pt x="110" y="372"/>
                </a:lnTo>
                <a:lnTo>
                  <a:pt x="36" y="396"/>
                </a:lnTo>
                <a:lnTo>
                  <a:pt x="0" y="372"/>
                </a:lnTo>
                <a:lnTo>
                  <a:pt x="0" y="323"/>
                </a:lnTo>
                <a:lnTo>
                  <a:pt x="9" y="291"/>
                </a:lnTo>
                <a:lnTo>
                  <a:pt x="55" y="283"/>
                </a:lnTo>
                <a:lnTo>
                  <a:pt x="82" y="275"/>
                </a:lnTo>
                <a:lnTo>
                  <a:pt x="119" y="283"/>
                </a:lnTo>
                <a:lnTo>
                  <a:pt x="155" y="283"/>
                </a:lnTo>
                <a:lnTo>
                  <a:pt x="192" y="267"/>
                </a:lnTo>
                <a:lnTo>
                  <a:pt x="238" y="251"/>
                </a:lnTo>
                <a:lnTo>
                  <a:pt x="293" y="243"/>
                </a:lnTo>
                <a:lnTo>
                  <a:pt x="311" y="226"/>
                </a:lnTo>
                <a:lnTo>
                  <a:pt x="293" y="210"/>
                </a:lnTo>
                <a:lnTo>
                  <a:pt x="275" y="186"/>
                </a:lnTo>
                <a:lnTo>
                  <a:pt x="275" y="162"/>
                </a:lnTo>
                <a:lnTo>
                  <a:pt x="293" y="121"/>
                </a:lnTo>
                <a:lnTo>
                  <a:pt x="293" y="105"/>
                </a:lnTo>
                <a:lnTo>
                  <a:pt x="284" y="81"/>
                </a:lnTo>
                <a:lnTo>
                  <a:pt x="293" y="57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7" name="Freeform 161"/>
          <p:cNvSpPr>
            <a:spLocks/>
          </p:cNvSpPr>
          <p:nvPr>
            <p:custDataLst>
              <p:tags r:id="rId183"/>
            </p:custDataLst>
          </p:nvPr>
        </p:nvSpPr>
        <p:spPr bwMode="gray">
          <a:xfrm>
            <a:off x="6278061" y="1640918"/>
            <a:ext cx="1039902" cy="719627"/>
          </a:xfrm>
          <a:custGeom>
            <a:avLst/>
            <a:gdLst>
              <a:gd name="T0" fmla="*/ 0 w 724"/>
              <a:gd name="T1" fmla="*/ 448 h 501"/>
              <a:gd name="T2" fmla="*/ 25 w 724"/>
              <a:gd name="T3" fmla="*/ 418 h 501"/>
              <a:gd name="T4" fmla="*/ 43 w 724"/>
              <a:gd name="T5" fmla="*/ 396 h 501"/>
              <a:gd name="T6" fmla="*/ 25 w 724"/>
              <a:gd name="T7" fmla="*/ 366 h 501"/>
              <a:gd name="T8" fmla="*/ 17 w 724"/>
              <a:gd name="T9" fmla="*/ 342 h 501"/>
              <a:gd name="T10" fmla="*/ 25 w 724"/>
              <a:gd name="T11" fmla="*/ 297 h 501"/>
              <a:gd name="T12" fmla="*/ 95 w 724"/>
              <a:gd name="T13" fmla="*/ 251 h 501"/>
              <a:gd name="T14" fmla="*/ 138 w 724"/>
              <a:gd name="T15" fmla="*/ 213 h 501"/>
              <a:gd name="T16" fmla="*/ 155 w 724"/>
              <a:gd name="T17" fmla="*/ 175 h 501"/>
              <a:gd name="T18" fmla="*/ 172 w 724"/>
              <a:gd name="T19" fmla="*/ 129 h 501"/>
              <a:gd name="T20" fmla="*/ 207 w 724"/>
              <a:gd name="T21" fmla="*/ 114 h 501"/>
              <a:gd name="T22" fmla="*/ 241 w 724"/>
              <a:gd name="T23" fmla="*/ 91 h 501"/>
              <a:gd name="T24" fmla="*/ 268 w 724"/>
              <a:gd name="T25" fmla="*/ 91 h 501"/>
              <a:gd name="T26" fmla="*/ 284 w 724"/>
              <a:gd name="T27" fmla="*/ 84 h 501"/>
              <a:gd name="T28" fmla="*/ 293 w 724"/>
              <a:gd name="T29" fmla="*/ 54 h 501"/>
              <a:gd name="T30" fmla="*/ 311 w 724"/>
              <a:gd name="T31" fmla="*/ 30 h 501"/>
              <a:gd name="T32" fmla="*/ 353 w 724"/>
              <a:gd name="T33" fmla="*/ 15 h 501"/>
              <a:gd name="T34" fmla="*/ 380 w 724"/>
              <a:gd name="T35" fmla="*/ 8 h 501"/>
              <a:gd name="T36" fmla="*/ 431 w 724"/>
              <a:gd name="T37" fmla="*/ 0 h 501"/>
              <a:gd name="T38" fmla="*/ 448 w 724"/>
              <a:gd name="T39" fmla="*/ 8 h 501"/>
              <a:gd name="T40" fmla="*/ 466 w 724"/>
              <a:gd name="T41" fmla="*/ 23 h 501"/>
              <a:gd name="T42" fmla="*/ 483 w 724"/>
              <a:gd name="T43" fmla="*/ 38 h 501"/>
              <a:gd name="T44" fmla="*/ 492 w 724"/>
              <a:gd name="T45" fmla="*/ 61 h 501"/>
              <a:gd name="T46" fmla="*/ 544 w 724"/>
              <a:gd name="T47" fmla="*/ 54 h 501"/>
              <a:gd name="T48" fmla="*/ 570 w 724"/>
              <a:gd name="T49" fmla="*/ 46 h 501"/>
              <a:gd name="T50" fmla="*/ 570 w 724"/>
              <a:gd name="T51" fmla="*/ 76 h 501"/>
              <a:gd name="T52" fmla="*/ 570 w 724"/>
              <a:gd name="T53" fmla="*/ 91 h 501"/>
              <a:gd name="T54" fmla="*/ 587 w 724"/>
              <a:gd name="T55" fmla="*/ 114 h 501"/>
              <a:gd name="T56" fmla="*/ 595 w 724"/>
              <a:gd name="T57" fmla="*/ 137 h 501"/>
              <a:gd name="T58" fmla="*/ 595 w 724"/>
              <a:gd name="T59" fmla="*/ 144 h 501"/>
              <a:gd name="T60" fmla="*/ 622 w 724"/>
              <a:gd name="T61" fmla="*/ 168 h 501"/>
              <a:gd name="T62" fmla="*/ 630 w 724"/>
              <a:gd name="T63" fmla="*/ 190 h 501"/>
              <a:gd name="T64" fmla="*/ 656 w 724"/>
              <a:gd name="T65" fmla="*/ 213 h 501"/>
              <a:gd name="T66" fmla="*/ 682 w 724"/>
              <a:gd name="T67" fmla="*/ 236 h 501"/>
              <a:gd name="T68" fmla="*/ 622 w 724"/>
              <a:gd name="T69" fmla="*/ 243 h 501"/>
              <a:gd name="T70" fmla="*/ 595 w 724"/>
              <a:gd name="T71" fmla="*/ 267 h 501"/>
              <a:gd name="T72" fmla="*/ 570 w 724"/>
              <a:gd name="T73" fmla="*/ 289 h 501"/>
              <a:gd name="T74" fmla="*/ 544 w 724"/>
              <a:gd name="T75" fmla="*/ 312 h 501"/>
              <a:gd name="T76" fmla="*/ 527 w 724"/>
              <a:gd name="T77" fmla="*/ 334 h 501"/>
              <a:gd name="T78" fmla="*/ 518 w 724"/>
              <a:gd name="T79" fmla="*/ 342 h 501"/>
              <a:gd name="T80" fmla="*/ 492 w 724"/>
              <a:gd name="T81" fmla="*/ 350 h 501"/>
              <a:gd name="T82" fmla="*/ 466 w 724"/>
              <a:gd name="T83" fmla="*/ 342 h 501"/>
              <a:gd name="T84" fmla="*/ 423 w 724"/>
              <a:gd name="T85" fmla="*/ 366 h 501"/>
              <a:gd name="T86" fmla="*/ 397 w 724"/>
              <a:gd name="T87" fmla="*/ 373 h 501"/>
              <a:gd name="T88" fmla="*/ 371 w 724"/>
              <a:gd name="T89" fmla="*/ 388 h 501"/>
              <a:gd name="T90" fmla="*/ 345 w 724"/>
              <a:gd name="T91" fmla="*/ 403 h 501"/>
              <a:gd name="T92" fmla="*/ 259 w 724"/>
              <a:gd name="T93" fmla="*/ 396 h 501"/>
              <a:gd name="T94" fmla="*/ 224 w 724"/>
              <a:gd name="T95" fmla="*/ 403 h 501"/>
              <a:gd name="T96" fmla="*/ 207 w 724"/>
              <a:gd name="T97" fmla="*/ 426 h 501"/>
              <a:gd name="T98" fmla="*/ 112 w 724"/>
              <a:gd name="T99" fmla="*/ 396 h 501"/>
              <a:gd name="T100" fmla="*/ 86 w 724"/>
              <a:gd name="T101" fmla="*/ 403 h 501"/>
              <a:gd name="T102" fmla="*/ 52 w 724"/>
              <a:gd name="T103" fmla="*/ 472 h 501"/>
              <a:gd name="T104" fmla="*/ 34 w 724"/>
              <a:gd name="T105" fmla="*/ 464 h 501"/>
              <a:gd name="T106" fmla="*/ 0 w 724"/>
              <a:gd name="T107" fmla="*/ 448 h 50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501">
                <a:moveTo>
                  <a:pt x="0" y="476"/>
                </a:moveTo>
                <a:lnTo>
                  <a:pt x="27" y="444"/>
                </a:lnTo>
                <a:lnTo>
                  <a:pt x="46" y="420"/>
                </a:lnTo>
                <a:lnTo>
                  <a:pt x="27" y="388"/>
                </a:lnTo>
                <a:lnTo>
                  <a:pt x="18" y="363"/>
                </a:lnTo>
                <a:lnTo>
                  <a:pt x="27" y="315"/>
                </a:lnTo>
                <a:lnTo>
                  <a:pt x="101" y="266"/>
                </a:lnTo>
                <a:lnTo>
                  <a:pt x="146" y="226"/>
                </a:lnTo>
                <a:lnTo>
                  <a:pt x="165" y="186"/>
                </a:lnTo>
                <a:lnTo>
                  <a:pt x="183" y="137"/>
                </a:lnTo>
                <a:lnTo>
                  <a:pt x="220" y="121"/>
                </a:lnTo>
                <a:lnTo>
                  <a:pt x="256" y="97"/>
                </a:lnTo>
                <a:lnTo>
                  <a:pt x="284" y="97"/>
                </a:lnTo>
                <a:lnTo>
                  <a:pt x="302" y="89"/>
                </a:lnTo>
                <a:lnTo>
                  <a:pt x="311" y="57"/>
                </a:lnTo>
                <a:lnTo>
                  <a:pt x="330" y="32"/>
                </a:lnTo>
                <a:lnTo>
                  <a:pt x="375" y="16"/>
                </a:lnTo>
                <a:lnTo>
                  <a:pt x="403" y="8"/>
                </a:lnTo>
                <a:lnTo>
                  <a:pt x="458" y="0"/>
                </a:lnTo>
                <a:lnTo>
                  <a:pt x="476" y="8"/>
                </a:lnTo>
                <a:lnTo>
                  <a:pt x="495" y="24"/>
                </a:lnTo>
                <a:lnTo>
                  <a:pt x="513" y="40"/>
                </a:lnTo>
                <a:lnTo>
                  <a:pt x="522" y="65"/>
                </a:lnTo>
                <a:lnTo>
                  <a:pt x="577" y="57"/>
                </a:lnTo>
                <a:lnTo>
                  <a:pt x="605" y="49"/>
                </a:lnTo>
                <a:lnTo>
                  <a:pt x="605" y="81"/>
                </a:lnTo>
                <a:lnTo>
                  <a:pt x="605" y="97"/>
                </a:lnTo>
                <a:lnTo>
                  <a:pt x="623" y="121"/>
                </a:lnTo>
                <a:lnTo>
                  <a:pt x="632" y="145"/>
                </a:lnTo>
                <a:lnTo>
                  <a:pt x="632" y="153"/>
                </a:lnTo>
                <a:lnTo>
                  <a:pt x="660" y="178"/>
                </a:lnTo>
                <a:lnTo>
                  <a:pt x="669" y="202"/>
                </a:lnTo>
                <a:lnTo>
                  <a:pt x="696" y="226"/>
                </a:lnTo>
                <a:lnTo>
                  <a:pt x="724" y="250"/>
                </a:lnTo>
                <a:lnTo>
                  <a:pt x="660" y="258"/>
                </a:lnTo>
                <a:lnTo>
                  <a:pt x="632" y="283"/>
                </a:lnTo>
                <a:lnTo>
                  <a:pt x="605" y="307"/>
                </a:lnTo>
                <a:lnTo>
                  <a:pt x="577" y="331"/>
                </a:lnTo>
                <a:lnTo>
                  <a:pt x="559" y="355"/>
                </a:lnTo>
                <a:lnTo>
                  <a:pt x="550" y="363"/>
                </a:lnTo>
                <a:lnTo>
                  <a:pt x="522" y="371"/>
                </a:lnTo>
                <a:lnTo>
                  <a:pt x="495" y="363"/>
                </a:lnTo>
                <a:lnTo>
                  <a:pt x="449" y="388"/>
                </a:lnTo>
                <a:lnTo>
                  <a:pt x="421" y="396"/>
                </a:lnTo>
                <a:lnTo>
                  <a:pt x="394" y="412"/>
                </a:lnTo>
                <a:lnTo>
                  <a:pt x="366" y="428"/>
                </a:lnTo>
                <a:lnTo>
                  <a:pt x="275" y="420"/>
                </a:lnTo>
                <a:lnTo>
                  <a:pt x="238" y="428"/>
                </a:lnTo>
                <a:lnTo>
                  <a:pt x="220" y="452"/>
                </a:lnTo>
                <a:lnTo>
                  <a:pt x="119" y="420"/>
                </a:lnTo>
                <a:lnTo>
                  <a:pt x="91" y="428"/>
                </a:lnTo>
                <a:lnTo>
                  <a:pt x="55" y="501"/>
                </a:lnTo>
                <a:lnTo>
                  <a:pt x="36" y="492"/>
                </a:lnTo>
                <a:lnTo>
                  <a:pt x="0" y="476"/>
                </a:lnTo>
                <a:close/>
              </a:path>
            </a:pathLst>
          </a:custGeom>
          <a:solidFill>
            <a:schemeClr val="hlink"/>
          </a:solidFill>
          <a:ln w="127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8" name="Freeform 164"/>
          <p:cNvSpPr>
            <a:spLocks/>
          </p:cNvSpPr>
          <p:nvPr>
            <p:custDataLst>
              <p:tags r:id="rId184"/>
            </p:custDataLst>
          </p:nvPr>
        </p:nvSpPr>
        <p:spPr bwMode="gray">
          <a:xfrm>
            <a:off x="5831549" y="2209268"/>
            <a:ext cx="618360" cy="672630"/>
          </a:xfrm>
          <a:custGeom>
            <a:avLst/>
            <a:gdLst>
              <a:gd name="T0" fmla="*/ 52 w 431"/>
              <a:gd name="T1" fmla="*/ 327 h 468"/>
              <a:gd name="T2" fmla="*/ 52 w 431"/>
              <a:gd name="T3" fmla="*/ 281 h 468"/>
              <a:gd name="T4" fmla="*/ 8 w 431"/>
              <a:gd name="T5" fmla="*/ 273 h 468"/>
              <a:gd name="T6" fmla="*/ 0 w 431"/>
              <a:gd name="T7" fmla="*/ 236 h 468"/>
              <a:gd name="T8" fmla="*/ 0 w 431"/>
              <a:gd name="T9" fmla="*/ 182 h 468"/>
              <a:gd name="T10" fmla="*/ 0 w 431"/>
              <a:gd name="T11" fmla="*/ 167 h 468"/>
              <a:gd name="T12" fmla="*/ 17 w 431"/>
              <a:gd name="T13" fmla="*/ 137 h 468"/>
              <a:gd name="T14" fmla="*/ 43 w 431"/>
              <a:gd name="T15" fmla="*/ 106 h 468"/>
              <a:gd name="T16" fmla="*/ 104 w 431"/>
              <a:gd name="T17" fmla="*/ 99 h 468"/>
              <a:gd name="T18" fmla="*/ 138 w 431"/>
              <a:gd name="T19" fmla="*/ 99 h 468"/>
              <a:gd name="T20" fmla="*/ 172 w 431"/>
              <a:gd name="T21" fmla="*/ 83 h 468"/>
              <a:gd name="T22" fmla="*/ 155 w 431"/>
              <a:gd name="T23" fmla="*/ 60 h 468"/>
              <a:gd name="T24" fmla="*/ 164 w 431"/>
              <a:gd name="T25" fmla="*/ 15 h 468"/>
              <a:gd name="T26" fmla="*/ 190 w 431"/>
              <a:gd name="T27" fmla="*/ 0 h 468"/>
              <a:gd name="T28" fmla="*/ 234 w 431"/>
              <a:gd name="T29" fmla="*/ 8 h 468"/>
              <a:gd name="T30" fmla="*/ 259 w 431"/>
              <a:gd name="T31" fmla="*/ 45 h 468"/>
              <a:gd name="T32" fmla="*/ 294 w 431"/>
              <a:gd name="T33" fmla="*/ 75 h 468"/>
              <a:gd name="T34" fmla="*/ 328 w 431"/>
              <a:gd name="T35" fmla="*/ 90 h 468"/>
              <a:gd name="T36" fmla="*/ 346 w 431"/>
              <a:gd name="T37" fmla="*/ 99 h 468"/>
              <a:gd name="T38" fmla="*/ 363 w 431"/>
              <a:gd name="T39" fmla="*/ 99 h 468"/>
              <a:gd name="T40" fmla="*/ 380 w 431"/>
              <a:gd name="T41" fmla="*/ 129 h 468"/>
              <a:gd name="T42" fmla="*/ 389 w 431"/>
              <a:gd name="T43" fmla="*/ 152 h 468"/>
              <a:gd name="T44" fmla="*/ 406 w 431"/>
              <a:gd name="T45" fmla="*/ 167 h 468"/>
              <a:gd name="T46" fmla="*/ 398 w 431"/>
              <a:gd name="T47" fmla="*/ 189 h 468"/>
              <a:gd name="T48" fmla="*/ 371 w 431"/>
              <a:gd name="T49" fmla="*/ 221 h 468"/>
              <a:gd name="T50" fmla="*/ 389 w 431"/>
              <a:gd name="T51" fmla="*/ 243 h 468"/>
              <a:gd name="T52" fmla="*/ 389 w 431"/>
              <a:gd name="T53" fmla="*/ 266 h 468"/>
              <a:gd name="T54" fmla="*/ 406 w 431"/>
              <a:gd name="T55" fmla="*/ 288 h 468"/>
              <a:gd name="T56" fmla="*/ 371 w 431"/>
              <a:gd name="T57" fmla="*/ 312 h 468"/>
              <a:gd name="T58" fmla="*/ 354 w 431"/>
              <a:gd name="T59" fmla="*/ 312 h 468"/>
              <a:gd name="T60" fmla="*/ 311 w 431"/>
              <a:gd name="T61" fmla="*/ 350 h 468"/>
              <a:gd name="T62" fmla="*/ 328 w 431"/>
              <a:gd name="T63" fmla="*/ 365 h 468"/>
              <a:gd name="T64" fmla="*/ 302 w 431"/>
              <a:gd name="T65" fmla="*/ 402 h 468"/>
              <a:gd name="T66" fmla="*/ 276 w 431"/>
              <a:gd name="T67" fmla="*/ 433 h 468"/>
              <a:gd name="T68" fmla="*/ 234 w 431"/>
              <a:gd name="T69" fmla="*/ 441 h 468"/>
              <a:gd name="T70" fmla="*/ 207 w 431"/>
              <a:gd name="T71" fmla="*/ 433 h 468"/>
              <a:gd name="T72" fmla="*/ 172 w 431"/>
              <a:gd name="T73" fmla="*/ 426 h 468"/>
              <a:gd name="T74" fmla="*/ 138 w 431"/>
              <a:gd name="T75" fmla="*/ 441 h 468"/>
              <a:gd name="T76" fmla="*/ 95 w 431"/>
              <a:gd name="T77" fmla="*/ 426 h 468"/>
              <a:gd name="T78" fmla="*/ 69 w 431"/>
              <a:gd name="T79" fmla="*/ 441 h 468"/>
              <a:gd name="T80" fmla="*/ 43 w 431"/>
              <a:gd name="T81" fmla="*/ 426 h 468"/>
              <a:gd name="T82" fmla="*/ 52 w 431"/>
              <a:gd name="T83" fmla="*/ 395 h 468"/>
              <a:gd name="T84" fmla="*/ 104 w 431"/>
              <a:gd name="T85" fmla="*/ 357 h 468"/>
              <a:gd name="T86" fmla="*/ 95 w 431"/>
              <a:gd name="T87" fmla="*/ 319 h 468"/>
              <a:gd name="T88" fmla="*/ 69 w 431"/>
              <a:gd name="T89" fmla="*/ 335 h 468"/>
              <a:gd name="T90" fmla="*/ 52 w 431"/>
              <a:gd name="T91" fmla="*/ 327 h 46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31" h="468">
                <a:moveTo>
                  <a:pt x="55" y="347"/>
                </a:moveTo>
                <a:lnTo>
                  <a:pt x="55" y="298"/>
                </a:lnTo>
                <a:lnTo>
                  <a:pt x="9" y="290"/>
                </a:lnTo>
                <a:lnTo>
                  <a:pt x="0" y="250"/>
                </a:lnTo>
                <a:lnTo>
                  <a:pt x="0" y="193"/>
                </a:lnTo>
                <a:lnTo>
                  <a:pt x="0" y="177"/>
                </a:lnTo>
                <a:lnTo>
                  <a:pt x="18" y="145"/>
                </a:lnTo>
                <a:lnTo>
                  <a:pt x="46" y="113"/>
                </a:lnTo>
                <a:lnTo>
                  <a:pt x="110" y="105"/>
                </a:lnTo>
                <a:lnTo>
                  <a:pt x="147" y="105"/>
                </a:lnTo>
                <a:lnTo>
                  <a:pt x="183" y="88"/>
                </a:lnTo>
                <a:lnTo>
                  <a:pt x="165" y="64"/>
                </a:lnTo>
                <a:lnTo>
                  <a:pt x="174" y="16"/>
                </a:lnTo>
                <a:lnTo>
                  <a:pt x="202" y="0"/>
                </a:lnTo>
                <a:lnTo>
                  <a:pt x="248" y="8"/>
                </a:lnTo>
                <a:lnTo>
                  <a:pt x="275" y="48"/>
                </a:lnTo>
                <a:lnTo>
                  <a:pt x="312" y="80"/>
                </a:lnTo>
                <a:lnTo>
                  <a:pt x="348" y="96"/>
                </a:lnTo>
                <a:lnTo>
                  <a:pt x="367" y="105"/>
                </a:lnTo>
                <a:lnTo>
                  <a:pt x="385" y="105"/>
                </a:lnTo>
                <a:lnTo>
                  <a:pt x="403" y="137"/>
                </a:lnTo>
                <a:lnTo>
                  <a:pt x="413" y="161"/>
                </a:lnTo>
                <a:lnTo>
                  <a:pt x="431" y="177"/>
                </a:lnTo>
                <a:lnTo>
                  <a:pt x="422" y="201"/>
                </a:lnTo>
                <a:lnTo>
                  <a:pt x="394" y="234"/>
                </a:lnTo>
                <a:lnTo>
                  <a:pt x="413" y="258"/>
                </a:lnTo>
                <a:lnTo>
                  <a:pt x="413" y="282"/>
                </a:lnTo>
                <a:lnTo>
                  <a:pt x="431" y="306"/>
                </a:lnTo>
                <a:lnTo>
                  <a:pt x="394" y="331"/>
                </a:lnTo>
                <a:lnTo>
                  <a:pt x="376" y="331"/>
                </a:lnTo>
                <a:lnTo>
                  <a:pt x="330" y="371"/>
                </a:lnTo>
                <a:lnTo>
                  <a:pt x="348" y="387"/>
                </a:lnTo>
                <a:lnTo>
                  <a:pt x="321" y="427"/>
                </a:lnTo>
                <a:lnTo>
                  <a:pt x="293" y="460"/>
                </a:lnTo>
                <a:lnTo>
                  <a:pt x="248" y="468"/>
                </a:lnTo>
                <a:lnTo>
                  <a:pt x="220" y="460"/>
                </a:lnTo>
                <a:lnTo>
                  <a:pt x="183" y="452"/>
                </a:lnTo>
                <a:lnTo>
                  <a:pt x="147" y="468"/>
                </a:lnTo>
                <a:lnTo>
                  <a:pt x="101" y="452"/>
                </a:lnTo>
                <a:lnTo>
                  <a:pt x="73" y="468"/>
                </a:lnTo>
                <a:lnTo>
                  <a:pt x="46" y="452"/>
                </a:lnTo>
                <a:lnTo>
                  <a:pt x="55" y="419"/>
                </a:lnTo>
                <a:lnTo>
                  <a:pt x="110" y="379"/>
                </a:lnTo>
                <a:lnTo>
                  <a:pt x="101" y="339"/>
                </a:lnTo>
                <a:lnTo>
                  <a:pt x="73" y="355"/>
                </a:lnTo>
                <a:lnTo>
                  <a:pt x="55" y="347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19" name="Freeform 168" descr="Wide upward diagonal"/>
          <p:cNvSpPr>
            <a:spLocks/>
          </p:cNvSpPr>
          <p:nvPr>
            <p:custDataLst>
              <p:tags r:id="rId185"/>
            </p:custDataLst>
          </p:nvPr>
        </p:nvSpPr>
        <p:spPr bwMode="gray">
          <a:xfrm>
            <a:off x="5474642" y="3390043"/>
            <a:ext cx="829865" cy="602136"/>
          </a:xfrm>
          <a:custGeom>
            <a:avLst/>
            <a:gdLst>
              <a:gd name="T0" fmla="*/ 17 w 577"/>
              <a:gd name="T1" fmla="*/ 23 h 420"/>
              <a:gd name="T2" fmla="*/ 52 w 577"/>
              <a:gd name="T3" fmla="*/ 8 h 420"/>
              <a:gd name="T4" fmla="*/ 86 w 577"/>
              <a:gd name="T5" fmla="*/ 0 h 420"/>
              <a:gd name="T6" fmla="*/ 129 w 577"/>
              <a:gd name="T7" fmla="*/ 8 h 420"/>
              <a:gd name="T8" fmla="*/ 207 w 577"/>
              <a:gd name="T9" fmla="*/ 23 h 420"/>
              <a:gd name="T10" fmla="*/ 302 w 577"/>
              <a:gd name="T11" fmla="*/ 84 h 420"/>
              <a:gd name="T12" fmla="*/ 302 w 577"/>
              <a:gd name="T13" fmla="*/ 107 h 420"/>
              <a:gd name="T14" fmla="*/ 354 w 577"/>
              <a:gd name="T15" fmla="*/ 114 h 420"/>
              <a:gd name="T16" fmla="*/ 388 w 577"/>
              <a:gd name="T17" fmla="*/ 99 h 420"/>
              <a:gd name="T18" fmla="*/ 440 w 577"/>
              <a:gd name="T19" fmla="*/ 107 h 420"/>
              <a:gd name="T20" fmla="*/ 467 w 577"/>
              <a:gd name="T21" fmla="*/ 122 h 420"/>
              <a:gd name="T22" fmla="*/ 492 w 577"/>
              <a:gd name="T23" fmla="*/ 129 h 420"/>
              <a:gd name="T24" fmla="*/ 519 w 577"/>
              <a:gd name="T25" fmla="*/ 122 h 420"/>
              <a:gd name="T26" fmla="*/ 536 w 577"/>
              <a:gd name="T27" fmla="*/ 152 h 420"/>
              <a:gd name="T28" fmla="*/ 544 w 577"/>
              <a:gd name="T29" fmla="*/ 221 h 420"/>
              <a:gd name="T30" fmla="*/ 527 w 577"/>
              <a:gd name="T31" fmla="*/ 243 h 420"/>
              <a:gd name="T32" fmla="*/ 544 w 577"/>
              <a:gd name="T33" fmla="*/ 243 h 420"/>
              <a:gd name="T34" fmla="*/ 527 w 577"/>
              <a:gd name="T35" fmla="*/ 274 h 420"/>
              <a:gd name="T36" fmla="*/ 501 w 577"/>
              <a:gd name="T37" fmla="*/ 274 h 420"/>
              <a:gd name="T38" fmla="*/ 457 w 577"/>
              <a:gd name="T39" fmla="*/ 342 h 420"/>
              <a:gd name="T40" fmla="*/ 440 w 577"/>
              <a:gd name="T41" fmla="*/ 366 h 420"/>
              <a:gd name="T42" fmla="*/ 432 w 577"/>
              <a:gd name="T43" fmla="*/ 381 h 420"/>
              <a:gd name="T44" fmla="*/ 388 w 577"/>
              <a:gd name="T45" fmla="*/ 396 h 420"/>
              <a:gd name="T46" fmla="*/ 345 w 577"/>
              <a:gd name="T47" fmla="*/ 373 h 420"/>
              <a:gd name="T48" fmla="*/ 311 w 577"/>
              <a:gd name="T49" fmla="*/ 342 h 420"/>
              <a:gd name="T50" fmla="*/ 276 w 577"/>
              <a:gd name="T51" fmla="*/ 312 h 420"/>
              <a:gd name="T52" fmla="*/ 250 w 577"/>
              <a:gd name="T53" fmla="*/ 305 h 420"/>
              <a:gd name="T54" fmla="*/ 216 w 577"/>
              <a:gd name="T55" fmla="*/ 305 h 420"/>
              <a:gd name="T56" fmla="*/ 216 w 577"/>
              <a:gd name="T57" fmla="*/ 320 h 420"/>
              <a:gd name="T58" fmla="*/ 198 w 577"/>
              <a:gd name="T59" fmla="*/ 335 h 420"/>
              <a:gd name="T60" fmla="*/ 190 w 577"/>
              <a:gd name="T61" fmla="*/ 350 h 420"/>
              <a:gd name="T62" fmla="*/ 156 w 577"/>
              <a:gd name="T63" fmla="*/ 357 h 420"/>
              <a:gd name="T64" fmla="*/ 104 w 577"/>
              <a:gd name="T65" fmla="*/ 357 h 420"/>
              <a:gd name="T66" fmla="*/ 42 w 577"/>
              <a:gd name="T67" fmla="*/ 357 h 420"/>
              <a:gd name="T68" fmla="*/ 8 w 577"/>
              <a:gd name="T69" fmla="*/ 357 h 420"/>
              <a:gd name="T70" fmla="*/ 25 w 577"/>
              <a:gd name="T71" fmla="*/ 305 h 420"/>
              <a:gd name="T72" fmla="*/ 0 w 577"/>
              <a:gd name="T73" fmla="*/ 274 h 420"/>
              <a:gd name="T74" fmla="*/ 8 w 577"/>
              <a:gd name="T75" fmla="*/ 251 h 420"/>
              <a:gd name="T76" fmla="*/ 25 w 577"/>
              <a:gd name="T77" fmla="*/ 228 h 420"/>
              <a:gd name="T78" fmla="*/ 42 w 577"/>
              <a:gd name="T79" fmla="*/ 213 h 420"/>
              <a:gd name="T80" fmla="*/ 42 w 577"/>
              <a:gd name="T81" fmla="*/ 190 h 420"/>
              <a:gd name="T82" fmla="*/ 52 w 577"/>
              <a:gd name="T83" fmla="*/ 152 h 420"/>
              <a:gd name="T84" fmla="*/ 42 w 577"/>
              <a:gd name="T85" fmla="*/ 69 h 420"/>
              <a:gd name="T86" fmla="*/ 34 w 577"/>
              <a:gd name="T87" fmla="*/ 45 h 420"/>
              <a:gd name="T88" fmla="*/ 17 w 577"/>
              <a:gd name="T89" fmla="*/ 23 h 42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577" h="420">
                <a:moveTo>
                  <a:pt x="18" y="24"/>
                </a:moveTo>
                <a:lnTo>
                  <a:pt x="55" y="8"/>
                </a:lnTo>
                <a:lnTo>
                  <a:pt x="91" y="0"/>
                </a:lnTo>
                <a:lnTo>
                  <a:pt x="137" y="8"/>
                </a:lnTo>
                <a:lnTo>
                  <a:pt x="220" y="24"/>
                </a:lnTo>
                <a:lnTo>
                  <a:pt x="320" y="89"/>
                </a:lnTo>
                <a:lnTo>
                  <a:pt x="320" y="113"/>
                </a:lnTo>
                <a:lnTo>
                  <a:pt x="375" y="121"/>
                </a:lnTo>
                <a:lnTo>
                  <a:pt x="412" y="105"/>
                </a:lnTo>
                <a:lnTo>
                  <a:pt x="467" y="113"/>
                </a:lnTo>
                <a:lnTo>
                  <a:pt x="495" y="129"/>
                </a:lnTo>
                <a:lnTo>
                  <a:pt x="522" y="137"/>
                </a:lnTo>
                <a:lnTo>
                  <a:pt x="550" y="129"/>
                </a:lnTo>
                <a:lnTo>
                  <a:pt x="568" y="161"/>
                </a:lnTo>
                <a:lnTo>
                  <a:pt x="577" y="234"/>
                </a:lnTo>
                <a:lnTo>
                  <a:pt x="559" y="258"/>
                </a:lnTo>
                <a:lnTo>
                  <a:pt x="577" y="258"/>
                </a:lnTo>
                <a:lnTo>
                  <a:pt x="559" y="291"/>
                </a:lnTo>
                <a:lnTo>
                  <a:pt x="531" y="291"/>
                </a:lnTo>
                <a:lnTo>
                  <a:pt x="485" y="363"/>
                </a:lnTo>
                <a:lnTo>
                  <a:pt x="467" y="388"/>
                </a:lnTo>
                <a:lnTo>
                  <a:pt x="458" y="404"/>
                </a:lnTo>
                <a:lnTo>
                  <a:pt x="412" y="420"/>
                </a:lnTo>
                <a:lnTo>
                  <a:pt x="366" y="396"/>
                </a:lnTo>
                <a:lnTo>
                  <a:pt x="330" y="363"/>
                </a:lnTo>
                <a:lnTo>
                  <a:pt x="293" y="331"/>
                </a:lnTo>
                <a:lnTo>
                  <a:pt x="265" y="323"/>
                </a:lnTo>
                <a:lnTo>
                  <a:pt x="229" y="323"/>
                </a:lnTo>
                <a:lnTo>
                  <a:pt x="229" y="339"/>
                </a:lnTo>
                <a:lnTo>
                  <a:pt x="210" y="355"/>
                </a:lnTo>
                <a:lnTo>
                  <a:pt x="201" y="371"/>
                </a:lnTo>
                <a:lnTo>
                  <a:pt x="165" y="379"/>
                </a:lnTo>
                <a:lnTo>
                  <a:pt x="110" y="379"/>
                </a:lnTo>
                <a:lnTo>
                  <a:pt x="45" y="379"/>
                </a:lnTo>
                <a:lnTo>
                  <a:pt x="9" y="379"/>
                </a:lnTo>
                <a:lnTo>
                  <a:pt x="27" y="323"/>
                </a:lnTo>
                <a:lnTo>
                  <a:pt x="0" y="291"/>
                </a:lnTo>
                <a:lnTo>
                  <a:pt x="9" y="266"/>
                </a:lnTo>
                <a:lnTo>
                  <a:pt x="27" y="242"/>
                </a:lnTo>
                <a:lnTo>
                  <a:pt x="45" y="226"/>
                </a:lnTo>
                <a:lnTo>
                  <a:pt x="45" y="202"/>
                </a:lnTo>
                <a:lnTo>
                  <a:pt x="55" y="161"/>
                </a:lnTo>
                <a:lnTo>
                  <a:pt x="45" y="73"/>
                </a:lnTo>
                <a:lnTo>
                  <a:pt x="36" y="48"/>
                </a:lnTo>
                <a:lnTo>
                  <a:pt x="18" y="24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20" name="Rectangle 173"/>
          <p:cNvSpPr>
            <a:spLocks noChangeArrowheads="1"/>
          </p:cNvSpPr>
          <p:nvPr>
            <p:custDataLst>
              <p:tags r:id="rId186"/>
            </p:custDataLst>
          </p:nvPr>
        </p:nvSpPr>
        <p:spPr bwMode="gray">
          <a:xfrm>
            <a:off x="5697891" y="3626587"/>
            <a:ext cx="337822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Layyah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21" name="Rectangle 176"/>
          <p:cNvSpPr>
            <a:spLocks noChangeArrowheads="1"/>
          </p:cNvSpPr>
          <p:nvPr>
            <p:custDataLst>
              <p:tags r:id="rId187"/>
            </p:custDataLst>
          </p:nvPr>
        </p:nvSpPr>
        <p:spPr bwMode="gray">
          <a:xfrm>
            <a:off x="7459058" y="2313548"/>
            <a:ext cx="334884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Jhelum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22" name="Rectangle 183"/>
          <p:cNvSpPr>
            <a:spLocks noChangeArrowheads="1"/>
          </p:cNvSpPr>
          <p:nvPr>
            <p:custDataLst>
              <p:tags r:id="rId188"/>
            </p:custDataLst>
          </p:nvPr>
        </p:nvSpPr>
        <p:spPr bwMode="gray">
          <a:xfrm>
            <a:off x="6655059" y="1937098"/>
            <a:ext cx="290820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Attock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24" name="Rectangle 99"/>
          <p:cNvSpPr>
            <a:spLocks noChangeArrowheads="1"/>
          </p:cNvSpPr>
          <p:nvPr>
            <p:custDataLst>
              <p:tags r:id="rId189"/>
            </p:custDataLst>
          </p:nvPr>
        </p:nvSpPr>
        <p:spPr bwMode="gray">
          <a:xfrm>
            <a:off x="5527885" y="3990711"/>
            <a:ext cx="350031" cy="25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Muzaff</a:t>
            </a:r>
            <a:r>
              <a:rPr lang="en-GB" sz="800" dirty="0">
                <a:solidFill>
                  <a:srgbClr val="000000"/>
                </a:solidFill>
              </a:rPr>
              <a:t>-</a:t>
            </a:r>
          </a:p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argarh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25" name="Freeform 58"/>
          <p:cNvSpPr>
            <a:spLocks/>
          </p:cNvSpPr>
          <p:nvPr>
            <p:custDataLst>
              <p:tags r:id="rId190"/>
            </p:custDataLst>
          </p:nvPr>
        </p:nvSpPr>
        <p:spPr bwMode="gray">
          <a:xfrm>
            <a:off x="6145877" y="2510344"/>
            <a:ext cx="895961" cy="866489"/>
          </a:xfrm>
          <a:custGeom>
            <a:avLst/>
            <a:gdLst>
              <a:gd name="T0" fmla="*/ 190 w 623"/>
              <a:gd name="T1" fmla="*/ 569 h 605"/>
              <a:gd name="T2" fmla="*/ 164 w 623"/>
              <a:gd name="T3" fmla="*/ 569 h 605"/>
              <a:gd name="T4" fmla="*/ 155 w 623"/>
              <a:gd name="T5" fmla="*/ 561 h 605"/>
              <a:gd name="T6" fmla="*/ 121 w 623"/>
              <a:gd name="T7" fmla="*/ 531 h 605"/>
              <a:gd name="T8" fmla="*/ 60 w 623"/>
              <a:gd name="T9" fmla="*/ 493 h 605"/>
              <a:gd name="T10" fmla="*/ 52 w 623"/>
              <a:gd name="T11" fmla="*/ 455 h 605"/>
              <a:gd name="T12" fmla="*/ 35 w 623"/>
              <a:gd name="T13" fmla="*/ 433 h 605"/>
              <a:gd name="T14" fmla="*/ 0 w 623"/>
              <a:gd name="T15" fmla="*/ 433 h 605"/>
              <a:gd name="T16" fmla="*/ 17 w 623"/>
              <a:gd name="T17" fmla="*/ 402 h 605"/>
              <a:gd name="T18" fmla="*/ 52 w 623"/>
              <a:gd name="T19" fmla="*/ 371 h 605"/>
              <a:gd name="T20" fmla="*/ 60 w 623"/>
              <a:gd name="T21" fmla="*/ 341 h 605"/>
              <a:gd name="T22" fmla="*/ 78 w 623"/>
              <a:gd name="T23" fmla="*/ 319 h 605"/>
              <a:gd name="T24" fmla="*/ 78 w 623"/>
              <a:gd name="T25" fmla="*/ 273 h 605"/>
              <a:gd name="T26" fmla="*/ 69 w 623"/>
              <a:gd name="T27" fmla="*/ 235 h 605"/>
              <a:gd name="T28" fmla="*/ 95 w 623"/>
              <a:gd name="T29" fmla="*/ 204 h 605"/>
              <a:gd name="T30" fmla="*/ 121 w 623"/>
              <a:gd name="T31" fmla="*/ 166 h 605"/>
              <a:gd name="T32" fmla="*/ 104 w 623"/>
              <a:gd name="T33" fmla="*/ 151 h 605"/>
              <a:gd name="T34" fmla="*/ 147 w 623"/>
              <a:gd name="T35" fmla="*/ 114 h 605"/>
              <a:gd name="T36" fmla="*/ 164 w 623"/>
              <a:gd name="T37" fmla="*/ 114 h 605"/>
              <a:gd name="T38" fmla="*/ 199 w 623"/>
              <a:gd name="T39" fmla="*/ 90 h 605"/>
              <a:gd name="T40" fmla="*/ 224 w 623"/>
              <a:gd name="T41" fmla="*/ 68 h 605"/>
              <a:gd name="T42" fmla="*/ 276 w 623"/>
              <a:gd name="T43" fmla="*/ 45 h 605"/>
              <a:gd name="T44" fmla="*/ 302 w 623"/>
              <a:gd name="T45" fmla="*/ 38 h 605"/>
              <a:gd name="T46" fmla="*/ 406 w 623"/>
              <a:gd name="T47" fmla="*/ 0 h 605"/>
              <a:gd name="T48" fmla="*/ 440 w 623"/>
              <a:gd name="T49" fmla="*/ 8 h 605"/>
              <a:gd name="T50" fmla="*/ 466 w 623"/>
              <a:gd name="T51" fmla="*/ 38 h 605"/>
              <a:gd name="T52" fmla="*/ 518 w 623"/>
              <a:gd name="T53" fmla="*/ 15 h 605"/>
              <a:gd name="T54" fmla="*/ 544 w 623"/>
              <a:gd name="T55" fmla="*/ 23 h 605"/>
              <a:gd name="T56" fmla="*/ 562 w 623"/>
              <a:gd name="T57" fmla="*/ 53 h 605"/>
              <a:gd name="T58" fmla="*/ 553 w 623"/>
              <a:gd name="T59" fmla="*/ 83 h 605"/>
              <a:gd name="T60" fmla="*/ 553 w 623"/>
              <a:gd name="T61" fmla="*/ 129 h 605"/>
              <a:gd name="T62" fmla="*/ 587 w 623"/>
              <a:gd name="T63" fmla="*/ 151 h 605"/>
              <a:gd name="T64" fmla="*/ 579 w 623"/>
              <a:gd name="T65" fmla="*/ 159 h 605"/>
              <a:gd name="T66" fmla="*/ 527 w 623"/>
              <a:gd name="T67" fmla="*/ 166 h 605"/>
              <a:gd name="T68" fmla="*/ 475 w 623"/>
              <a:gd name="T69" fmla="*/ 174 h 605"/>
              <a:gd name="T70" fmla="*/ 449 w 623"/>
              <a:gd name="T71" fmla="*/ 197 h 605"/>
              <a:gd name="T72" fmla="*/ 380 w 623"/>
              <a:gd name="T73" fmla="*/ 310 h 605"/>
              <a:gd name="T74" fmla="*/ 371 w 623"/>
              <a:gd name="T75" fmla="*/ 349 h 605"/>
              <a:gd name="T76" fmla="*/ 354 w 623"/>
              <a:gd name="T77" fmla="*/ 402 h 605"/>
              <a:gd name="T78" fmla="*/ 328 w 623"/>
              <a:gd name="T79" fmla="*/ 440 h 605"/>
              <a:gd name="T80" fmla="*/ 268 w 623"/>
              <a:gd name="T81" fmla="*/ 470 h 605"/>
              <a:gd name="T82" fmla="*/ 224 w 623"/>
              <a:gd name="T83" fmla="*/ 524 h 605"/>
              <a:gd name="T84" fmla="*/ 190 w 623"/>
              <a:gd name="T85" fmla="*/ 569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23" h="605">
                <a:moveTo>
                  <a:pt x="202" y="605"/>
                </a:moveTo>
                <a:lnTo>
                  <a:pt x="174" y="605"/>
                </a:lnTo>
                <a:lnTo>
                  <a:pt x="165" y="597"/>
                </a:lnTo>
                <a:lnTo>
                  <a:pt x="128" y="565"/>
                </a:lnTo>
                <a:lnTo>
                  <a:pt x="64" y="524"/>
                </a:lnTo>
                <a:lnTo>
                  <a:pt x="55" y="484"/>
                </a:lnTo>
                <a:lnTo>
                  <a:pt x="37" y="460"/>
                </a:lnTo>
                <a:lnTo>
                  <a:pt x="0" y="460"/>
                </a:lnTo>
                <a:lnTo>
                  <a:pt x="18" y="427"/>
                </a:lnTo>
                <a:lnTo>
                  <a:pt x="55" y="395"/>
                </a:lnTo>
                <a:lnTo>
                  <a:pt x="64" y="363"/>
                </a:lnTo>
                <a:lnTo>
                  <a:pt x="83" y="339"/>
                </a:lnTo>
                <a:lnTo>
                  <a:pt x="83" y="290"/>
                </a:lnTo>
                <a:lnTo>
                  <a:pt x="73" y="250"/>
                </a:lnTo>
                <a:lnTo>
                  <a:pt x="101" y="217"/>
                </a:lnTo>
                <a:lnTo>
                  <a:pt x="128" y="177"/>
                </a:lnTo>
                <a:lnTo>
                  <a:pt x="110" y="161"/>
                </a:lnTo>
                <a:lnTo>
                  <a:pt x="156" y="121"/>
                </a:lnTo>
                <a:lnTo>
                  <a:pt x="174" y="121"/>
                </a:lnTo>
                <a:lnTo>
                  <a:pt x="211" y="96"/>
                </a:lnTo>
                <a:lnTo>
                  <a:pt x="238" y="72"/>
                </a:lnTo>
                <a:lnTo>
                  <a:pt x="293" y="48"/>
                </a:lnTo>
                <a:lnTo>
                  <a:pt x="321" y="40"/>
                </a:lnTo>
                <a:lnTo>
                  <a:pt x="431" y="0"/>
                </a:lnTo>
                <a:lnTo>
                  <a:pt x="467" y="8"/>
                </a:lnTo>
                <a:lnTo>
                  <a:pt x="495" y="40"/>
                </a:lnTo>
                <a:lnTo>
                  <a:pt x="550" y="16"/>
                </a:lnTo>
                <a:lnTo>
                  <a:pt x="577" y="24"/>
                </a:lnTo>
                <a:lnTo>
                  <a:pt x="596" y="56"/>
                </a:lnTo>
                <a:lnTo>
                  <a:pt x="587" y="88"/>
                </a:lnTo>
                <a:lnTo>
                  <a:pt x="587" y="137"/>
                </a:lnTo>
                <a:lnTo>
                  <a:pt x="623" y="161"/>
                </a:lnTo>
                <a:lnTo>
                  <a:pt x="614" y="169"/>
                </a:lnTo>
                <a:lnTo>
                  <a:pt x="559" y="177"/>
                </a:lnTo>
                <a:lnTo>
                  <a:pt x="504" y="185"/>
                </a:lnTo>
                <a:lnTo>
                  <a:pt x="477" y="209"/>
                </a:lnTo>
                <a:lnTo>
                  <a:pt x="403" y="330"/>
                </a:lnTo>
                <a:lnTo>
                  <a:pt x="394" y="371"/>
                </a:lnTo>
                <a:lnTo>
                  <a:pt x="376" y="427"/>
                </a:lnTo>
                <a:lnTo>
                  <a:pt x="348" y="468"/>
                </a:lnTo>
                <a:lnTo>
                  <a:pt x="284" y="500"/>
                </a:lnTo>
                <a:lnTo>
                  <a:pt x="238" y="557"/>
                </a:lnTo>
                <a:lnTo>
                  <a:pt x="202" y="605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26" name="Freeform 60"/>
          <p:cNvSpPr>
            <a:spLocks/>
          </p:cNvSpPr>
          <p:nvPr>
            <p:custDataLst>
              <p:tags r:id="rId191"/>
            </p:custDataLst>
          </p:nvPr>
        </p:nvSpPr>
        <p:spPr bwMode="gray">
          <a:xfrm>
            <a:off x="6357376" y="2162272"/>
            <a:ext cx="1078090" cy="486115"/>
          </a:xfrm>
          <a:custGeom>
            <a:avLst/>
            <a:gdLst>
              <a:gd name="T0" fmla="*/ 0 w 751"/>
              <a:gd name="T1" fmla="*/ 130 h 339"/>
              <a:gd name="T2" fmla="*/ 34 w 751"/>
              <a:gd name="T3" fmla="*/ 61 h 339"/>
              <a:gd name="T4" fmla="*/ 60 w 751"/>
              <a:gd name="T5" fmla="*/ 54 h 339"/>
              <a:gd name="T6" fmla="*/ 155 w 751"/>
              <a:gd name="T7" fmla="*/ 84 h 339"/>
              <a:gd name="T8" fmla="*/ 172 w 751"/>
              <a:gd name="T9" fmla="*/ 61 h 339"/>
              <a:gd name="T10" fmla="*/ 207 w 751"/>
              <a:gd name="T11" fmla="*/ 54 h 339"/>
              <a:gd name="T12" fmla="*/ 293 w 751"/>
              <a:gd name="T13" fmla="*/ 61 h 339"/>
              <a:gd name="T14" fmla="*/ 319 w 751"/>
              <a:gd name="T15" fmla="*/ 46 h 339"/>
              <a:gd name="T16" fmla="*/ 336 w 751"/>
              <a:gd name="T17" fmla="*/ 31 h 339"/>
              <a:gd name="T18" fmla="*/ 371 w 751"/>
              <a:gd name="T19" fmla="*/ 24 h 339"/>
              <a:gd name="T20" fmla="*/ 414 w 751"/>
              <a:gd name="T21" fmla="*/ 0 h 339"/>
              <a:gd name="T22" fmla="*/ 440 w 751"/>
              <a:gd name="T23" fmla="*/ 8 h 339"/>
              <a:gd name="T24" fmla="*/ 466 w 751"/>
              <a:gd name="T25" fmla="*/ 0 h 339"/>
              <a:gd name="T26" fmla="*/ 491 w 751"/>
              <a:gd name="T27" fmla="*/ 8 h 339"/>
              <a:gd name="T28" fmla="*/ 526 w 751"/>
              <a:gd name="T29" fmla="*/ 15 h 339"/>
              <a:gd name="T30" fmla="*/ 603 w 751"/>
              <a:gd name="T31" fmla="*/ 24 h 339"/>
              <a:gd name="T32" fmla="*/ 621 w 751"/>
              <a:gd name="T33" fmla="*/ 46 h 339"/>
              <a:gd name="T34" fmla="*/ 655 w 751"/>
              <a:gd name="T35" fmla="*/ 69 h 339"/>
              <a:gd name="T36" fmla="*/ 673 w 751"/>
              <a:gd name="T37" fmla="*/ 61 h 339"/>
              <a:gd name="T38" fmla="*/ 690 w 751"/>
              <a:gd name="T39" fmla="*/ 61 h 339"/>
              <a:gd name="T40" fmla="*/ 682 w 751"/>
              <a:gd name="T41" fmla="*/ 84 h 339"/>
              <a:gd name="T42" fmla="*/ 690 w 751"/>
              <a:gd name="T43" fmla="*/ 106 h 339"/>
              <a:gd name="T44" fmla="*/ 699 w 751"/>
              <a:gd name="T45" fmla="*/ 121 h 339"/>
              <a:gd name="T46" fmla="*/ 673 w 751"/>
              <a:gd name="T47" fmla="*/ 160 h 339"/>
              <a:gd name="T48" fmla="*/ 673 w 751"/>
              <a:gd name="T49" fmla="*/ 183 h 339"/>
              <a:gd name="T50" fmla="*/ 690 w 751"/>
              <a:gd name="T51" fmla="*/ 205 h 339"/>
              <a:gd name="T52" fmla="*/ 707 w 751"/>
              <a:gd name="T53" fmla="*/ 220 h 339"/>
              <a:gd name="T54" fmla="*/ 690 w 751"/>
              <a:gd name="T55" fmla="*/ 236 h 339"/>
              <a:gd name="T56" fmla="*/ 647 w 751"/>
              <a:gd name="T57" fmla="*/ 244 h 339"/>
              <a:gd name="T58" fmla="*/ 595 w 751"/>
              <a:gd name="T59" fmla="*/ 259 h 339"/>
              <a:gd name="T60" fmla="*/ 560 w 751"/>
              <a:gd name="T61" fmla="*/ 274 h 339"/>
              <a:gd name="T62" fmla="*/ 526 w 751"/>
              <a:gd name="T63" fmla="*/ 274 h 339"/>
              <a:gd name="T64" fmla="*/ 491 w 751"/>
              <a:gd name="T65" fmla="*/ 266 h 339"/>
              <a:gd name="T66" fmla="*/ 466 w 751"/>
              <a:gd name="T67" fmla="*/ 274 h 339"/>
              <a:gd name="T68" fmla="*/ 423 w 751"/>
              <a:gd name="T69" fmla="*/ 281 h 339"/>
              <a:gd name="T70" fmla="*/ 405 w 751"/>
              <a:gd name="T71" fmla="*/ 251 h 339"/>
              <a:gd name="T72" fmla="*/ 379 w 751"/>
              <a:gd name="T73" fmla="*/ 244 h 339"/>
              <a:gd name="T74" fmla="*/ 328 w 751"/>
              <a:gd name="T75" fmla="*/ 266 h 339"/>
              <a:gd name="T76" fmla="*/ 301 w 751"/>
              <a:gd name="T77" fmla="*/ 236 h 339"/>
              <a:gd name="T78" fmla="*/ 267 w 751"/>
              <a:gd name="T79" fmla="*/ 229 h 339"/>
              <a:gd name="T80" fmla="*/ 164 w 751"/>
              <a:gd name="T81" fmla="*/ 266 h 339"/>
              <a:gd name="T82" fmla="*/ 137 w 751"/>
              <a:gd name="T83" fmla="*/ 274 h 339"/>
              <a:gd name="T84" fmla="*/ 86 w 751"/>
              <a:gd name="T85" fmla="*/ 296 h 339"/>
              <a:gd name="T86" fmla="*/ 60 w 751"/>
              <a:gd name="T87" fmla="*/ 319 h 339"/>
              <a:gd name="T88" fmla="*/ 34 w 751"/>
              <a:gd name="T89" fmla="*/ 296 h 339"/>
              <a:gd name="T90" fmla="*/ 34 w 751"/>
              <a:gd name="T91" fmla="*/ 274 h 339"/>
              <a:gd name="T92" fmla="*/ 25 w 751"/>
              <a:gd name="T93" fmla="*/ 251 h 339"/>
              <a:gd name="T94" fmla="*/ 52 w 751"/>
              <a:gd name="T95" fmla="*/ 220 h 339"/>
              <a:gd name="T96" fmla="*/ 60 w 751"/>
              <a:gd name="T97" fmla="*/ 198 h 339"/>
              <a:gd name="T98" fmla="*/ 34 w 751"/>
              <a:gd name="T99" fmla="*/ 183 h 339"/>
              <a:gd name="T100" fmla="*/ 34 w 751"/>
              <a:gd name="T101" fmla="*/ 160 h 339"/>
              <a:gd name="T102" fmla="*/ 8 w 751"/>
              <a:gd name="T103" fmla="*/ 130 h 339"/>
              <a:gd name="T104" fmla="*/ 0 w 751"/>
              <a:gd name="T105" fmla="*/ 130 h 339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51" h="339">
                <a:moveTo>
                  <a:pt x="0" y="138"/>
                </a:moveTo>
                <a:lnTo>
                  <a:pt x="36" y="65"/>
                </a:lnTo>
                <a:lnTo>
                  <a:pt x="64" y="57"/>
                </a:lnTo>
                <a:lnTo>
                  <a:pt x="165" y="89"/>
                </a:lnTo>
                <a:lnTo>
                  <a:pt x="183" y="65"/>
                </a:lnTo>
                <a:lnTo>
                  <a:pt x="220" y="57"/>
                </a:lnTo>
                <a:lnTo>
                  <a:pt x="311" y="65"/>
                </a:lnTo>
                <a:lnTo>
                  <a:pt x="339" y="49"/>
                </a:lnTo>
                <a:lnTo>
                  <a:pt x="357" y="33"/>
                </a:lnTo>
                <a:lnTo>
                  <a:pt x="394" y="25"/>
                </a:lnTo>
                <a:lnTo>
                  <a:pt x="440" y="0"/>
                </a:lnTo>
                <a:lnTo>
                  <a:pt x="467" y="8"/>
                </a:lnTo>
                <a:lnTo>
                  <a:pt x="495" y="0"/>
                </a:lnTo>
                <a:lnTo>
                  <a:pt x="522" y="8"/>
                </a:lnTo>
                <a:lnTo>
                  <a:pt x="559" y="16"/>
                </a:lnTo>
                <a:lnTo>
                  <a:pt x="641" y="25"/>
                </a:lnTo>
                <a:lnTo>
                  <a:pt x="660" y="49"/>
                </a:lnTo>
                <a:lnTo>
                  <a:pt x="696" y="73"/>
                </a:lnTo>
                <a:lnTo>
                  <a:pt x="715" y="65"/>
                </a:lnTo>
                <a:lnTo>
                  <a:pt x="733" y="65"/>
                </a:lnTo>
                <a:lnTo>
                  <a:pt x="724" y="89"/>
                </a:lnTo>
                <a:lnTo>
                  <a:pt x="733" y="113"/>
                </a:lnTo>
                <a:lnTo>
                  <a:pt x="742" y="129"/>
                </a:lnTo>
                <a:lnTo>
                  <a:pt x="715" y="170"/>
                </a:lnTo>
                <a:lnTo>
                  <a:pt x="715" y="194"/>
                </a:lnTo>
                <a:lnTo>
                  <a:pt x="733" y="218"/>
                </a:lnTo>
                <a:lnTo>
                  <a:pt x="751" y="234"/>
                </a:lnTo>
                <a:lnTo>
                  <a:pt x="733" y="251"/>
                </a:lnTo>
                <a:lnTo>
                  <a:pt x="687" y="259"/>
                </a:lnTo>
                <a:lnTo>
                  <a:pt x="632" y="275"/>
                </a:lnTo>
                <a:lnTo>
                  <a:pt x="595" y="291"/>
                </a:lnTo>
                <a:lnTo>
                  <a:pt x="559" y="291"/>
                </a:lnTo>
                <a:lnTo>
                  <a:pt x="522" y="283"/>
                </a:lnTo>
                <a:lnTo>
                  <a:pt x="495" y="291"/>
                </a:lnTo>
                <a:lnTo>
                  <a:pt x="449" y="299"/>
                </a:lnTo>
                <a:lnTo>
                  <a:pt x="430" y="267"/>
                </a:lnTo>
                <a:lnTo>
                  <a:pt x="403" y="259"/>
                </a:lnTo>
                <a:lnTo>
                  <a:pt x="348" y="283"/>
                </a:lnTo>
                <a:lnTo>
                  <a:pt x="320" y="251"/>
                </a:lnTo>
                <a:lnTo>
                  <a:pt x="284" y="243"/>
                </a:lnTo>
                <a:lnTo>
                  <a:pt x="174" y="283"/>
                </a:lnTo>
                <a:lnTo>
                  <a:pt x="146" y="291"/>
                </a:lnTo>
                <a:lnTo>
                  <a:pt x="91" y="315"/>
                </a:lnTo>
                <a:lnTo>
                  <a:pt x="64" y="339"/>
                </a:lnTo>
                <a:lnTo>
                  <a:pt x="36" y="315"/>
                </a:lnTo>
                <a:lnTo>
                  <a:pt x="36" y="291"/>
                </a:lnTo>
                <a:lnTo>
                  <a:pt x="27" y="267"/>
                </a:lnTo>
                <a:lnTo>
                  <a:pt x="55" y="234"/>
                </a:lnTo>
                <a:lnTo>
                  <a:pt x="64" y="210"/>
                </a:lnTo>
                <a:lnTo>
                  <a:pt x="36" y="194"/>
                </a:lnTo>
                <a:lnTo>
                  <a:pt x="36" y="170"/>
                </a:lnTo>
                <a:lnTo>
                  <a:pt x="9" y="138"/>
                </a:lnTo>
                <a:lnTo>
                  <a:pt x="0" y="13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27" name="Rectangle 126"/>
          <p:cNvSpPr>
            <a:spLocks noChangeArrowheads="1"/>
          </p:cNvSpPr>
          <p:nvPr>
            <p:custDataLst>
              <p:tags r:id="rId192"/>
            </p:custDataLst>
          </p:nvPr>
        </p:nvSpPr>
        <p:spPr bwMode="gray">
          <a:xfrm>
            <a:off x="6289578" y="2880433"/>
            <a:ext cx="412729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Khushab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28" name="Rectangle 128"/>
          <p:cNvSpPr>
            <a:spLocks noChangeArrowheads="1"/>
          </p:cNvSpPr>
          <p:nvPr>
            <p:custDataLst>
              <p:tags r:id="rId193"/>
            </p:custDataLst>
          </p:nvPr>
        </p:nvSpPr>
        <p:spPr bwMode="gray">
          <a:xfrm>
            <a:off x="6736323" y="2342913"/>
            <a:ext cx="399510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Chakwal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29" name="Freeform 158"/>
          <p:cNvSpPr>
            <a:spLocks/>
          </p:cNvSpPr>
          <p:nvPr>
            <p:custDataLst>
              <p:tags r:id="rId194"/>
            </p:custDataLst>
          </p:nvPr>
        </p:nvSpPr>
        <p:spPr bwMode="gray">
          <a:xfrm>
            <a:off x="7671941" y="2360536"/>
            <a:ext cx="712362" cy="380374"/>
          </a:xfrm>
          <a:custGeom>
            <a:avLst/>
            <a:gdLst>
              <a:gd name="T0" fmla="*/ 467 w 495"/>
              <a:gd name="T1" fmla="*/ 106 h 266"/>
              <a:gd name="T2" fmla="*/ 467 w 495"/>
              <a:gd name="T3" fmla="*/ 121 h 266"/>
              <a:gd name="T4" fmla="*/ 459 w 495"/>
              <a:gd name="T5" fmla="*/ 151 h 266"/>
              <a:gd name="T6" fmla="*/ 424 w 495"/>
              <a:gd name="T7" fmla="*/ 174 h 266"/>
              <a:gd name="T8" fmla="*/ 380 w 495"/>
              <a:gd name="T9" fmla="*/ 189 h 266"/>
              <a:gd name="T10" fmla="*/ 338 w 495"/>
              <a:gd name="T11" fmla="*/ 196 h 266"/>
              <a:gd name="T12" fmla="*/ 286 w 495"/>
              <a:gd name="T13" fmla="*/ 227 h 266"/>
              <a:gd name="T14" fmla="*/ 208 w 495"/>
              <a:gd name="T15" fmla="*/ 250 h 266"/>
              <a:gd name="T16" fmla="*/ 139 w 495"/>
              <a:gd name="T17" fmla="*/ 250 h 266"/>
              <a:gd name="T18" fmla="*/ 112 w 495"/>
              <a:gd name="T19" fmla="*/ 250 h 266"/>
              <a:gd name="T20" fmla="*/ 95 w 495"/>
              <a:gd name="T21" fmla="*/ 212 h 266"/>
              <a:gd name="T22" fmla="*/ 87 w 495"/>
              <a:gd name="T23" fmla="*/ 174 h 266"/>
              <a:gd name="T24" fmla="*/ 70 w 495"/>
              <a:gd name="T25" fmla="*/ 136 h 266"/>
              <a:gd name="T26" fmla="*/ 43 w 495"/>
              <a:gd name="T27" fmla="*/ 106 h 266"/>
              <a:gd name="T28" fmla="*/ 0 w 495"/>
              <a:gd name="T29" fmla="*/ 99 h 266"/>
              <a:gd name="T30" fmla="*/ 18 w 495"/>
              <a:gd name="T31" fmla="*/ 75 h 266"/>
              <a:gd name="T32" fmla="*/ 78 w 495"/>
              <a:gd name="T33" fmla="*/ 53 h 266"/>
              <a:gd name="T34" fmla="*/ 156 w 495"/>
              <a:gd name="T35" fmla="*/ 30 h 266"/>
              <a:gd name="T36" fmla="*/ 164 w 495"/>
              <a:gd name="T37" fmla="*/ 0 h 266"/>
              <a:gd name="T38" fmla="*/ 191 w 495"/>
              <a:gd name="T39" fmla="*/ 8 h 266"/>
              <a:gd name="T40" fmla="*/ 208 w 495"/>
              <a:gd name="T41" fmla="*/ 15 h 266"/>
              <a:gd name="T42" fmla="*/ 234 w 495"/>
              <a:gd name="T43" fmla="*/ 30 h 266"/>
              <a:gd name="T44" fmla="*/ 311 w 495"/>
              <a:gd name="T45" fmla="*/ 53 h 266"/>
              <a:gd name="T46" fmla="*/ 355 w 495"/>
              <a:gd name="T47" fmla="*/ 75 h 266"/>
              <a:gd name="T48" fmla="*/ 372 w 495"/>
              <a:gd name="T49" fmla="*/ 83 h 266"/>
              <a:gd name="T50" fmla="*/ 372 w 495"/>
              <a:gd name="T51" fmla="*/ 83 h 266"/>
              <a:gd name="T52" fmla="*/ 372 w 495"/>
              <a:gd name="T53" fmla="*/ 90 h 266"/>
              <a:gd name="T54" fmla="*/ 380 w 495"/>
              <a:gd name="T55" fmla="*/ 90 h 266"/>
              <a:gd name="T56" fmla="*/ 380 w 495"/>
              <a:gd name="T57" fmla="*/ 99 h 266"/>
              <a:gd name="T58" fmla="*/ 390 w 495"/>
              <a:gd name="T59" fmla="*/ 99 h 266"/>
              <a:gd name="T60" fmla="*/ 390 w 495"/>
              <a:gd name="T61" fmla="*/ 106 h 266"/>
              <a:gd name="T62" fmla="*/ 398 w 495"/>
              <a:gd name="T63" fmla="*/ 106 h 266"/>
              <a:gd name="T64" fmla="*/ 398 w 495"/>
              <a:gd name="T65" fmla="*/ 106 h 266"/>
              <a:gd name="T66" fmla="*/ 407 w 495"/>
              <a:gd name="T67" fmla="*/ 106 h 266"/>
              <a:gd name="T68" fmla="*/ 407 w 495"/>
              <a:gd name="T69" fmla="*/ 99 h 266"/>
              <a:gd name="T70" fmla="*/ 415 w 495"/>
              <a:gd name="T71" fmla="*/ 99 h 266"/>
              <a:gd name="T72" fmla="*/ 424 w 495"/>
              <a:gd name="T73" fmla="*/ 90 h 266"/>
              <a:gd name="T74" fmla="*/ 424 w 495"/>
              <a:gd name="T75" fmla="*/ 90 h 266"/>
              <a:gd name="T76" fmla="*/ 432 w 495"/>
              <a:gd name="T77" fmla="*/ 90 h 266"/>
              <a:gd name="T78" fmla="*/ 442 w 495"/>
              <a:gd name="T79" fmla="*/ 90 h 266"/>
              <a:gd name="T80" fmla="*/ 442 w 495"/>
              <a:gd name="T81" fmla="*/ 99 h 266"/>
              <a:gd name="T82" fmla="*/ 450 w 495"/>
              <a:gd name="T83" fmla="*/ 99 h 266"/>
              <a:gd name="T84" fmla="*/ 450 w 495"/>
              <a:gd name="T85" fmla="*/ 106 h 266"/>
              <a:gd name="T86" fmla="*/ 450 w 495"/>
              <a:gd name="T87" fmla="*/ 106 h 266"/>
              <a:gd name="T88" fmla="*/ 459 w 495"/>
              <a:gd name="T89" fmla="*/ 106 h 266"/>
              <a:gd name="T90" fmla="*/ 467 w 495"/>
              <a:gd name="T91" fmla="*/ 106 h 26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95" h="266">
                <a:moveTo>
                  <a:pt x="495" y="113"/>
                </a:moveTo>
                <a:lnTo>
                  <a:pt x="495" y="129"/>
                </a:lnTo>
                <a:lnTo>
                  <a:pt x="486" y="161"/>
                </a:lnTo>
                <a:lnTo>
                  <a:pt x="449" y="185"/>
                </a:lnTo>
                <a:lnTo>
                  <a:pt x="403" y="201"/>
                </a:lnTo>
                <a:lnTo>
                  <a:pt x="358" y="209"/>
                </a:lnTo>
                <a:lnTo>
                  <a:pt x="303" y="242"/>
                </a:lnTo>
                <a:lnTo>
                  <a:pt x="220" y="266"/>
                </a:lnTo>
                <a:lnTo>
                  <a:pt x="147" y="266"/>
                </a:lnTo>
                <a:lnTo>
                  <a:pt x="119" y="266"/>
                </a:lnTo>
                <a:lnTo>
                  <a:pt x="101" y="226"/>
                </a:lnTo>
                <a:lnTo>
                  <a:pt x="92" y="185"/>
                </a:lnTo>
                <a:lnTo>
                  <a:pt x="74" y="145"/>
                </a:lnTo>
                <a:lnTo>
                  <a:pt x="46" y="113"/>
                </a:lnTo>
                <a:lnTo>
                  <a:pt x="0" y="105"/>
                </a:lnTo>
                <a:lnTo>
                  <a:pt x="19" y="80"/>
                </a:lnTo>
                <a:lnTo>
                  <a:pt x="83" y="56"/>
                </a:lnTo>
                <a:lnTo>
                  <a:pt x="165" y="32"/>
                </a:lnTo>
                <a:lnTo>
                  <a:pt x="174" y="0"/>
                </a:lnTo>
                <a:lnTo>
                  <a:pt x="202" y="8"/>
                </a:lnTo>
                <a:lnTo>
                  <a:pt x="220" y="16"/>
                </a:lnTo>
                <a:lnTo>
                  <a:pt x="248" y="32"/>
                </a:lnTo>
                <a:lnTo>
                  <a:pt x="330" y="56"/>
                </a:lnTo>
                <a:lnTo>
                  <a:pt x="376" y="80"/>
                </a:lnTo>
                <a:lnTo>
                  <a:pt x="394" y="88"/>
                </a:lnTo>
                <a:lnTo>
                  <a:pt x="394" y="96"/>
                </a:lnTo>
                <a:lnTo>
                  <a:pt x="403" y="96"/>
                </a:lnTo>
                <a:lnTo>
                  <a:pt x="403" y="105"/>
                </a:lnTo>
                <a:lnTo>
                  <a:pt x="413" y="105"/>
                </a:lnTo>
                <a:lnTo>
                  <a:pt x="413" y="113"/>
                </a:lnTo>
                <a:lnTo>
                  <a:pt x="422" y="113"/>
                </a:lnTo>
                <a:lnTo>
                  <a:pt x="431" y="113"/>
                </a:lnTo>
                <a:lnTo>
                  <a:pt x="431" y="105"/>
                </a:lnTo>
                <a:lnTo>
                  <a:pt x="440" y="105"/>
                </a:lnTo>
                <a:lnTo>
                  <a:pt x="449" y="96"/>
                </a:lnTo>
                <a:lnTo>
                  <a:pt x="458" y="96"/>
                </a:lnTo>
                <a:lnTo>
                  <a:pt x="468" y="96"/>
                </a:lnTo>
                <a:lnTo>
                  <a:pt x="468" y="105"/>
                </a:lnTo>
                <a:lnTo>
                  <a:pt x="477" y="105"/>
                </a:lnTo>
                <a:lnTo>
                  <a:pt x="477" y="113"/>
                </a:lnTo>
                <a:lnTo>
                  <a:pt x="486" y="113"/>
                </a:lnTo>
                <a:lnTo>
                  <a:pt x="495" y="113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30" name="Rectangle 175"/>
          <p:cNvSpPr>
            <a:spLocks noChangeArrowheads="1"/>
          </p:cNvSpPr>
          <p:nvPr>
            <p:custDataLst>
              <p:tags r:id="rId195"/>
            </p:custDataLst>
          </p:nvPr>
        </p:nvSpPr>
        <p:spPr bwMode="gray">
          <a:xfrm>
            <a:off x="7892349" y="2508868"/>
            <a:ext cx="283476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Gujrat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31" name="Freeform 62"/>
          <p:cNvSpPr>
            <a:spLocks/>
          </p:cNvSpPr>
          <p:nvPr>
            <p:custDataLst>
              <p:tags r:id="rId196"/>
            </p:custDataLst>
          </p:nvPr>
        </p:nvSpPr>
        <p:spPr bwMode="gray">
          <a:xfrm>
            <a:off x="5621521" y="4062676"/>
            <a:ext cx="616891" cy="809212"/>
          </a:xfrm>
          <a:custGeom>
            <a:avLst/>
            <a:gdLst>
              <a:gd name="T0" fmla="*/ 9 w 431"/>
              <a:gd name="T1" fmla="*/ 509 h 565"/>
              <a:gd name="T2" fmla="*/ 0 w 431"/>
              <a:gd name="T3" fmla="*/ 479 h 565"/>
              <a:gd name="T4" fmla="*/ 18 w 431"/>
              <a:gd name="T5" fmla="*/ 449 h 565"/>
              <a:gd name="T6" fmla="*/ 18 w 431"/>
              <a:gd name="T7" fmla="*/ 411 h 565"/>
              <a:gd name="T8" fmla="*/ 52 w 431"/>
              <a:gd name="T9" fmla="*/ 403 h 565"/>
              <a:gd name="T10" fmla="*/ 70 w 431"/>
              <a:gd name="T11" fmla="*/ 373 h 565"/>
              <a:gd name="T12" fmla="*/ 86 w 431"/>
              <a:gd name="T13" fmla="*/ 304 h 565"/>
              <a:gd name="T14" fmla="*/ 86 w 431"/>
              <a:gd name="T15" fmla="*/ 251 h 565"/>
              <a:gd name="T16" fmla="*/ 86 w 431"/>
              <a:gd name="T17" fmla="*/ 228 h 565"/>
              <a:gd name="T18" fmla="*/ 113 w 431"/>
              <a:gd name="T19" fmla="*/ 228 h 565"/>
              <a:gd name="T20" fmla="*/ 121 w 431"/>
              <a:gd name="T21" fmla="*/ 183 h 565"/>
              <a:gd name="T22" fmla="*/ 155 w 431"/>
              <a:gd name="T23" fmla="*/ 145 h 565"/>
              <a:gd name="T24" fmla="*/ 173 w 431"/>
              <a:gd name="T25" fmla="*/ 114 h 565"/>
              <a:gd name="T26" fmla="*/ 190 w 431"/>
              <a:gd name="T27" fmla="*/ 76 h 565"/>
              <a:gd name="T28" fmla="*/ 233 w 431"/>
              <a:gd name="T29" fmla="*/ 31 h 565"/>
              <a:gd name="T30" fmla="*/ 276 w 431"/>
              <a:gd name="T31" fmla="*/ 0 h 565"/>
              <a:gd name="T32" fmla="*/ 285 w 431"/>
              <a:gd name="T33" fmla="*/ 0 h 565"/>
              <a:gd name="T34" fmla="*/ 310 w 431"/>
              <a:gd name="T35" fmla="*/ 0 h 565"/>
              <a:gd name="T36" fmla="*/ 328 w 431"/>
              <a:gd name="T37" fmla="*/ 0 h 565"/>
              <a:gd name="T38" fmla="*/ 345 w 431"/>
              <a:gd name="T39" fmla="*/ 15 h 565"/>
              <a:gd name="T40" fmla="*/ 362 w 431"/>
              <a:gd name="T41" fmla="*/ 39 h 565"/>
              <a:gd name="T42" fmla="*/ 371 w 431"/>
              <a:gd name="T43" fmla="*/ 54 h 565"/>
              <a:gd name="T44" fmla="*/ 405 w 431"/>
              <a:gd name="T45" fmla="*/ 76 h 565"/>
              <a:gd name="T46" fmla="*/ 405 w 431"/>
              <a:gd name="T47" fmla="*/ 99 h 565"/>
              <a:gd name="T48" fmla="*/ 388 w 431"/>
              <a:gd name="T49" fmla="*/ 121 h 565"/>
              <a:gd name="T50" fmla="*/ 362 w 431"/>
              <a:gd name="T51" fmla="*/ 160 h 565"/>
              <a:gd name="T52" fmla="*/ 302 w 431"/>
              <a:gd name="T53" fmla="*/ 198 h 565"/>
              <a:gd name="T54" fmla="*/ 285 w 431"/>
              <a:gd name="T55" fmla="*/ 244 h 565"/>
              <a:gd name="T56" fmla="*/ 310 w 431"/>
              <a:gd name="T57" fmla="*/ 266 h 565"/>
              <a:gd name="T58" fmla="*/ 310 w 431"/>
              <a:gd name="T59" fmla="*/ 282 h 565"/>
              <a:gd name="T60" fmla="*/ 268 w 431"/>
              <a:gd name="T61" fmla="*/ 319 h 565"/>
              <a:gd name="T62" fmla="*/ 268 w 431"/>
              <a:gd name="T63" fmla="*/ 342 h 565"/>
              <a:gd name="T64" fmla="*/ 268 w 431"/>
              <a:gd name="T65" fmla="*/ 358 h 565"/>
              <a:gd name="T66" fmla="*/ 276 w 431"/>
              <a:gd name="T67" fmla="*/ 380 h 565"/>
              <a:gd name="T68" fmla="*/ 250 w 431"/>
              <a:gd name="T69" fmla="*/ 411 h 565"/>
              <a:gd name="T70" fmla="*/ 241 w 431"/>
              <a:gd name="T71" fmla="*/ 449 h 565"/>
              <a:gd name="T72" fmla="*/ 241 w 431"/>
              <a:gd name="T73" fmla="*/ 494 h 565"/>
              <a:gd name="T74" fmla="*/ 207 w 431"/>
              <a:gd name="T75" fmla="*/ 509 h 565"/>
              <a:gd name="T76" fmla="*/ 173 w 431"/>
              <a:gd name="T77" fmla="*/ 532 h 565"/>
              <a:gd name="T78" fmla="*/ 164 w 431"/>
              <a:gd name="T79" fmla="*/ 517 h 565"/>
              <a:gd name="T80" fmla="*/ 155 w 431"/>
              <a:gd name="T81" fmla="*/ 509 h 565"/>
              <a:gd name="T82" fmla="*/ 138 w 431"/>
              <a:gd name="T83" fmla="*/ 509 h 565"/>
              <a:gd name="T84" fmla="*/ 113 w 431"/>
              <a:gd name="T85" fmla="*/ 524 h 565"/>
              <a:gd name="T86" fmla="*/ 86 w 431"/>
              <a:gd name="T87" fmla="*/ 502 h 565"/>
              <a:gd name="T88" fmla="*/ 61 w 431"/>
              <a:gd name="T89" fmla="*/ 509 h 565"/>
              <a:gd name="T90" fmla="*/ 35 w 431"/>
              <a:gd name="T91" fmla="*/ 517 h 565"/>
              <a:gd name="T92" fmla="*/ 9 w 431"/>
              <a:gd name="T93" fmla="*/ 509 h 56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31" h="565">
                <a:moveTo>
                  <a:pt x="10" y="541"/>
                </a:moveTo>
                <a:lnTo>
                  <a:pt x="0" y="509"/>
                </a:lnTo>
                <a:lnTo>
                  <a:pt x="19" y="477"/>
                </a:lnTo>
                <a:lnTo>
                  <a:pt x="19" y="436"/>
                </a:lnTo>
                <a:lnTo>
                  <a:pt x="55" y="428"/>
                </a:lnTo>
                <a:lnTo>
                  <a:pt x="74" y="396"/>
                </a:lnTo>
                <a:lnTo>
                  <a:pt x="92" y="323"/>
                </a:lnTo>
                <a:lnTo>
                  <a:pt x="92" y="267"/>
                </a:lnTo>
                <a:lnTo>
                  <a:pt x="92" y="242"/>
                </a:lnTo>
                <a:lnTo>
                  <a:pt x="120" y="242"/>
                </a:lnTo>
                <a:lnTo>
                  <a:pt x="129" y="194"/>
                </a:lnTo>
                <a:lnTo>
                  <a:pt x="165" y="154"/>
                </a:lnTo>
                <a:lnTo>
                  <a:pt x="184" y="121"/>
                </a:lnTo>
                <a:lnTo>
                  <a:pt x="202" y="81"/>
                </a:lnTo>
                <a:lnTo>
                  <a:pt x="248" y="33"/>
                </a:lnTo>
                <a:lnTo>
                  <a:pt x="294" y="0"/>
                </a:lnTo>
                <a:lnTo>
                  <a:pt x="303" y="0"/>
                </a:lnTo>
                <a:lnTo>
                  <a:pt x="330" y="0"/>
                </a:lnTo>
                <a:lnTo>
                  <a:pt x="349" y="0"/>
                </a:lnTo>
                <a:lnTo>
                  <a:pt x="367" y="16"/>
                </a:lnTo>
                <a:lnTo>
                  <a:pt x="385" y="41"/>
                </a:lnTo>
                <a:lnTo>
                  <a:pt x="395" y="57"/>
                </a:lnTo>
                <a:lnTo>
                  <a:pt x="431" y="81"/>
                </a:lnTo>
                <a:lnTo>
                  <a:pt x="431" y="105"/>
                </a:lnTo>
                <a:lnTo>
                  <a:pt x="413" y="129"/>
                </a:lnTo>
                <a:lnTo>
                  <a:pt x="385" y="170"/>
                </a:lnTo>
                <a:lnTo>
                  <a:pt x="321" y="210"/>
                </a:lnTo>
                <a:lnTo>
                  <a:pt x="303" y="259"/>
                </a:lnTo>
                <a:lnTo>
                  <a:pt x="330" y="283"/>
                </a:lnTo>
                <a:lnTo>
                  <a:pt x="330" y="299"/>
                </a:lnTo>
                <a:lnTo>
                  <a:pt x="285" y="339"/>
                </a:lnTo>
                <a:lnTo>
                  <a:pt x="285" y="363"/>
                </a:lnTo>
                <a:lnTo>
                  <a:pt x="285" y="380"/>
                </a:lnTo>
                <a:lnTo>
                  <a:pt x="294" y="404"/>
                </a:lnTo>
                <a:lnTo>
                  <a:pt x="266" y="436"/>
                </a:lnTo>
                <a:lnTo>
                  <a:pt x="257" y="477"/>
                </a:lnTo>
                <a:lnTo>
                  <a:pt x="257" y="525"/>
                </a:lnTo>
                <a:lnTo>
                  <a:pt x="220" y="541"/>
                </a:lnTo>
                <a:lnTo>
                  <a:pt x="184" y="565"/>
                </a:lnTo>
                <a:lnTo>
                  <a:pt x="175" y="549"/>
                </a:lnTo>
                <a:lnTo>
                  <a:pt x="165" y="541"/>
                </a:lnTo>
                <a:lnTo>
                  <a:pt x="147" y="541"/>
                </a:lnTo>
                <a:lnTo>
                  <a:pt x="120" y="557"/>
                </a:lnTo>
                <a:lnTo>
                  <a:pt x="92" y="533"/>
                </a:lnTo>
                <a:lnTo>
                  <a:pt x="65" y="541"/>
                </a:lnTo>
                <a:lnTo>
                  <a:pt x="37" y="549"/>
                </a:lnTo>
                <a:lnTo>
                  <a:pt x="10" y="541"/>
                </a:lnTo>
                <a:close/>
              </a:path>
            </a:pathLst>
          </a:custGeom>
          <a:solidFill>
            <a:schemeClr val="hlink"/>
          </a:solidFill>
          <a:ln w="12700">
            <a:solidFill>
              <a:schemeClr val="bg1"/>
            </a:solidFill>
            <a:round/>
            <a:headEnd/>
            <a:tailEnd/>
          </a:ln>
          <a:extLst/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32" name="Freeform 150"/>
          <p:cNvSpPr>
            <a:spLocks/>
          </p:cNvSpPr>
          <p:nvPr>
            <p:custDataLst>
              <p:tags r:id="rId197"/>
            </p:custDataLst>
          </p:nvPr>
        </p:nvSpPr>
        <p:spPr bwMode="gray">
          <a:xfrm>
            <a:off x="6145877" y="3043447"/>
            <a:ext cx="1224969" cy="938452"/>
          </a:xfrm>
          <a:custGeom>
            <a:avLst/>
            <a:gdLst>
              <a:gd name="T0" fmla="*/ 17 w 852"/>
              <a:gd name="T1" fmla="*/ 570 h 654"/>
              <a:gd name="T2" fmla="*/ 87 w 852"/>
              <a:gd name="T3" fmla="*/ 502 h 654"/>
              <a:gd name="T4" fmla="*/ 87 w 852"/>
              <a:gd name="T5" fmla="*/ 471 h 654"/>
              <a:gd name="T6" fmla="*/ 95 w 852"/>
              <a:gd name="T7" fmla="*/ 380 h 654"/>
              <a:gd name="T8" fmla="*/ 104 w 852"/>
              <a:gd name="T9" fmla="*/ 334 h 654"/>
              <a:gd name="T10" fmla="*/ 182 w 852"/>
              <a:gd name="T11" fmla="*/ 312 h 654"/>
              <a:gd name="T12" fmla="*/ 207 w 852"/>
              <a:gd name="T13" fmla="*/ 258 h 654"/>
              <a:gd name="T14" fmla="*/ 224 w 852"/>
              <a:gd name="T15" fmla="*/ 175 h 654"/>
              <a:gd name="T16" fmla="*/ 328 w 852"/>
              <a:gd name="T17" fmla="*/ 91 h 654"/>
              <a:gd name="T18" fmla="*/ 388 w 852"/>
              <a:gd name="T19" fmla="*/ 106 h 654"/>
              <a:gd name="T20" fmla="*/ 346 w 852"/>
              <a:gd name="T21" fmla="*/ 167 h 654"/>
              <a:gd name="T22" fmla="*/ 415 w 852"/>
              <a:gd name="T23" fmla="*/ 137 h 654"/>
              <a:gd name="T24" fmla="*/ 483 w 852"/>
              <a:gd name="T25" fmla="*/ 99 h 654"/>
              <a:gd name="T26" fmla="*/ 562 w 852"/>
              <a:gd name="T27" fmla="*/ 76 h 654"/>
              <a:gd name="T28" fmla="*/ 691 w 852"/>
              <a:gd name="T29" fmla="*/ 53 h 654"/>
              <a:gd name="T30" fmla="*/ 665 w 852"/>
              <a:gd name="T31" fmla="*/ 23 h 654"/>
              <a:gd name="T32" fmla="*/ 709 w 852"/>
              <a:gd name="T33" fmla="*/ 0 h 654"/>
              <a:gd name="T34" fmla="*/ 803 w 852"/>
              <a:gd name="T35" fmla="*/ 38 h 654"/>
              <a:gd name="T36" fmla="*/ 803 w 852"/>
              <a:gd name="T37" fmla="*/ 91 h 654"/>
              <a:gd name="T38" fmla="*/ 743 w 852"/>
              <a:gd name="T39" fmla="*/ 152 h 654"/>
              <a:gd name="T40" fmla="*/ 682 w 852"/>
              <a:gd name="T41" fmla="*/ 190 h 654"/>
              <a:gd name="T42" fmla="*/ 605 w 852"/>
              <a:gd name="T43" fmla="*/ 251 h 654"/>
              <a:gd name="T44" fmla="*/ 553 w 852"/>
              <a:gd name="T45" fmla="*/ 297 h 654"/>
              <a:gd name="T46" fmla="*/ 475 w 852"/>
              <a:gd name="T47" fmla="*/ 334 h 654"/>
              <a:gd name="T48" fmla="*/ 415 w 852"/>
              <a:gd name="T49" fmla="*/ 396 h 654"/>
              <a:gd name="T50" fmla="*/ 363 w 852"/>
              <a:gd name="T51" fmla="*/ 441 h 654"/>
              <a:gd name="T52" fmla="*/ 320 w 852"/>
              <a:gd name="T53" fmla="*/ 478 h 654"/>
              <a:gd name="T54" fmla="*/ 303 w 852"/>
              <a:gd name="T55" fmla="*/ 517 h 654"/>
              <a:gd name="T56" fmla="*/ 268 w 852"/>
              <a:gd name="T57" fmla="*/ 555 h 654"/>
              <a:gd name="T58" fmla="*/ 199 w 852"/>
              <a:gd name="T59" fmla="*/ 562 h 654"/>
              <a:gd name="T60" fmla="*/ 147 w 852"/>
              <a:gd name="T61" fmla="*/ 562 h 654"/>
              <a:gd name="T62" fmla="*/ 95 w 852"/>
              <a:gd name="T63" fmla="*/ 577 h 654"/>
              <a:gd name="T64" fmla="*/ 0 w 852"/>
              <a:gd name="T65" fmla="*/ 593 h 6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852" h="654">
                <a:moveTo>
                  <a:pt x="0" y="630"/>
                </a:moveTo>
                <a:lnTo>
                  <a:pt x="18" y="605"/>
                </a:lnTo>
                <a:lnTo>
                  <a:pt x="64" y="533"/>
                </a:lnTo>
                <a:lnTo>
                  <a:pt x="92" y="533"/>
                </a:lnTo>
                <a:lnTo>
                  <a:pt x="110" y="500"/>
                </a:lnTo>
                <a:lnTo>
                  <a:pt x="92" y="500"/>
                </a:lnTo>
                <a:lnTo>
                  <a:pt x="110" y="476"/>
                </a:lnTo>
                <a:lnTo>
                  <a:pt x="101" y="403"/>
                </a:lnTo>
                <a:lnTo>
                  <a:pt x="83" y="371"/>
                </a:lnTo>
                <a:lnTo>
                  <a:pt x="110" y="355"/>
                </a:lnTo>
                <a:lnTo>
                  <a:pt x="156" y="331"/>
                </a:lnTo>
                <a:lnTo>
                  <a:pt x="193" y="331"/>
                </a:lnTo>
                <a:lnTo>
                  <a:pt x="211" y="299"/>
                </a:lnTo>
                <a:lnTo>
                  <a:pt x="220" y="274"/>
                </a:lnTo>
                <a:lnTo>
                  <a:pt x="202" y="234"/>
                </a:lnTo>
                <a:lnTo>
                  <a:pt x="238" y="186"/>
                </a:lnTo>
                <a:lnTo>
                  <a:pt x="284" y="129"/>
                </a:lnTo>
                <a:lnTo>
                  <a:pt x="348" y="97"/>
                </a:lnTo>
                <a:lnTo>
                  <a:pt x="376" y="81"/>
                </a:lnTo>
                <a:lnTo>
                  <a:pt x="412" y="113"/>
                </a:lnTo>
                <a:lnTo>
                  <a:pt x="376" y="145"/>
                </a:lnTo>
                <a:lnTo>
                  <a:pt x="367" y="177"/>
                </a:lnTo>
                <a:lnTo>
                  <a:pt x="394" y="169"/>
                </a:lnTo>
                <a:lnTo>
                  <a:pt x="440" y="145"/>
                </a:lnTo>
                <a:lnTo>
                  <a:pt x="495" y="121"/>
                </a:lnTo>
                <a:lnTo>
                  <a:pt x="513" y="105"/>
                </a:lnTo>
                <a:lnTo>
                  <a:pt x="541" y="89"/>
                </a:lnTo>
                <a:lnTo>
                  <a:pt x="596" y="81"/>
                </a:lnTo>
                <a:lnTo>
                  <a:pt x="642" y="64"/>
                </a:lnTo>
                <a:lnTo>
                  <a:pt x="733" y="56"/>
                </a:lnTo>
                <a:lnTo>
                  <a:pt x="752" y="48"/>
                </a:lnTo>
                <a:lnTo>
                  <a:pt x="706" y="24"/>
                </a:lnTo>
                <a:lnTo>
                  <a:pt x="724" y="8"/>
                </a:lnTo>
                <a:lnTo>
                  <a:pt x="752" y="0"/>
                </a:lnTo>
                <a:lnTo>
                  <a:pt x="834" y="40"/>
                </a:lnTo>
                <a:lnTo>
                  <a:pt x="852" y="40"/>
                </a:lnTo>
                <a:lnTo>
                  <a:pt x="843" y="73"/>
                </a:lnTo>
                <a:lnTo>
                  <a:pt x="852" y="97"/>
                </a:lnTo>
                <a:lnTo>
                  <a:pt x="816" y="129"/>
                </a:lnTo>
                <a:lnTo>
                  <a:pt x="788" y="161"/>
                </a:lnTo>
                <a:lnTo>
                  <a:pt x="761" y="194"/>
                </a:lnTo>
                <a:lnTo>
                  <a:pt x="724" y="202"/>
                </a:lnTo>
                <a:lnTo>
                  <a:pt x="678" y="226"/>
                </a:lnTo>
                <a:lnTo>
                  <a:pt x="642" y="266"/>
                </a:lnTo>
                <a:lnTo>
                  <a:pt x="623" y="299"/>
                </a:lnTo>
                <a:lnTo>
                  <a:pt x="587" y="315"/>
                </a:lnTo>
                <a:lnTo>
                  <a:pt x="550" y="331"/>
                </a:lnTo>
                <a:lnTo>
                  <a:pt x="504" y="355"/>
                </a:lnTo>
                <a:lnTo>
                  <a:pt x="458" y="379"/>
                </a:lnTo>
                <a:lnTo>
                  <a:pt x="440" y="420"/>
                </a:lnTo>
                <a:lnTo>
                  <a:pt x="412" y="436"/>
                </a:lnTo>
                <a:lnTo>
                  <a:pt x="385" y="468"/>
                </a:lnTo>
                <a:lnTo>
                  <a:pt x="357" y="500"/>
                </a:lnTo>
                <a:lnTo>
                  <a:pt x="339" y="508"/>
                </a:lnTo>
                <a:lnTo>
                  <a:pt x="321" y="533"/>
                </a:lnTo>
                <a:lnTo>
                  <a:pt x="321" y="549"/>
                </a:lnTo>
                <a:lnTo>
                  <a:pt x="321" y="565"/>
                </a:lnTo>
                <a:lnTo>
                  <a:pt x="284" y="589"/>
                </a:lnTo>
                <a:lnTo>
                  <a:pt x="238" y="581"/>
                </a:lnTo>
                <a:lnTo>
                  <a:pt x="211" y="597"/>
                </a:lnTo>
                <a:lnTo>
                  <a:pt x="183" y="613"/>
                </a:lnTo>
                <a:lnTo>
                  <a:pt x="156" y="597"/>
                </a:lnTo>
                <a:lnTo>
                  <a:pt x="119" y="605"/>
                </a:lnTo>
                <a:lnTo>
                  <a:pt x="101" y="613"/>
                </a:lnTo>
                <a:lnTo>
                  <a:pt x="73" y="654"/>
                </a:lnTo>
                <a:lnTo>
                  <a:pt x="0" y="630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33" name="Freeform 156"/>
          <p:cNvSpPr>
            <a:spLocks/>
          </p:cNvSpPr>
          <p:nvPr>
            <p:custDataLst>
              <p:tags r:id="rId198"/>
            </p:custDataLst>
          </p:nvPr>
        </p:nvSpPr>
        <p:spPr bwMode="gray">
          <a:xfrm>
            <a:off x="6646726" y="2613148"/>
            <a:ext cx="841615" cy="684379"/>
          </a:xfrm>
          <a:custGeom>
            <a:avLst/>
            <a:gdLst>
              <a:gd name="T0" fmla="*/ 0 w 587"/>
              <a:gd name="T1" fmla="*/ 366 h 476"/>
              <a:gd name="T2" fmla="*/ 26 w 587"/>
              <a:gd name="T3" fmla="*/ 335 h 476"/>
              <a:gd name="T4" fmla="*/ 52 w 587"/>
              <a:gd name="T5" fmla="*/ 282 h 476"/>
              <a:gd name="T6" fmla="*/ 52 w 587"/>
              <a:gd name="T7" fmla="*/ 243 h 476"/>
              <a:gd name="T8" fmla="*/ 122 w 587"/>
              <a:gd name="T9" fmla="*/ 129 h 476"/>
              <a:gd name="T10" fmla="*/ 155 w 587"/>
              <a:gd name="T11" fmla="*/ 107 h 476"/>
              <a:gd name="T12" fmla="*/ 199 w 587"/>
              <a:gd name="T13" fmla="*/ 99 h 476"/>
              <a:gd name="T14" fmla="*/ 251 w 587"/>
              <a:gd name="T15" fmla="*/ 91 h 476"/>
              <a:gd name="T16" fmla="*/ 259 w 587"/>
              <a:gd name="T17" fmla="*/ 84 h 476"/>
              <a:gd name="T18" fmla="*/ 329 w 587"/>
              <a:gd name="T19" fmla="*/ 61 h 476"/>
              <a:gd name="T20" fmla="*/ 381 w 587"/>
              <a:gd name="T21" fmla="*/ 30 h 476"/>
              <a:gd name="T22" fmla="*/ 466 w 587"/>
              <a:gd name="T23" fmla="*/ 8 h 476"/>
              <a:gd name="T24" fmla="*/ 510 w 587"/>
              <a:gd name="T25" fmla="*/ 0 h 476"/>
              <a:gd name="T26" fmla="*/ 527 w 587"/>
              <a:gd name="T27" fmla="*/ 8 h 476"/>
              <a:gd name="T28" fmla="*/ 493 w 587"/>
              <a:gd name="T29" fmla="*/ 46 h 476"/>
              <a:gd name="T30" fmla="*/ 449 w 587"/>
              <a:gd name="T31" fmla="*/ 69 h 476"/>
              <a:gd name="T32" fmla="*/ 458 w 587"/>
              <a:gd name="T33" fmla="*/ 129 h 476"/>
              <a:gd name="T34" fmla="*/ 484 w 587"/>
              <a:gd name="T35" fmla="*/ 145 h 476"/>
              <a:gd name="T36" fmla="*/ 501 w 587"/>
              <a:gd name="T37" fmla="*/ 129 h 476"/>
              <a:gd name="T38" fmla="*/ 510 w 587"/>
              <a:gd name="T39" fmla="*/ 153 h 476"/>
              <a:gd name="T40" fmla="*/ 536 w 587"/>
              <a:gd name="T41" fmla="*/ 198 h 476"/>
              <a:gd name="T42" fmla="*/ 553 w 587"/>
              <a:gd name="T43" fmla="*/ 206 h 476"/>
              <a:gd name="T44" fmla="*/ 518 w 587"/>
              <a:gd name="T45" fmla="*/ 236 h 476"/>
              <a:gd name="T46" fmla="*/ 484 w 587"/>
              <a:gd name="T47" fmla="*/ 274 h 476"/>
              <a:gd name="T48" fmla="*/ 484 w 587"/>
              <a:gd name="T49" fmla="*/ 297 h 476"/>
              <a:gd name="T50" fmla="*/ 475 w 587"/>
              <a:gd name="T51" fmla="*/ 320 h 476"/>
              <a:gd name="T52" fmla="*/ 458 w 587"/>
              <a:gd name="T53" fmla="*/ 320 h 476"/>
              <a:gd name="T54" fmla="*/ 381 w 587"/>
              <a:gd name="T55" fmla="*/ 282 h 476"/>
              <a:gd name="T56" fmla="*/ 354 w 587"/>
              <a:gd name="T57" fmla="*/ 290 h 476"/>
              <a:gd name="T58" fmla="*/ 337 w 587"/>
              <a:gd name="T59" fmla="*/ 297 h 476"/>
              <a:gd name="T60" fmla="*/ 381 w 587"/>
              <a:gd name="T61" fmla="*/ 320 h 476"/>
              <a:gd name="T62" fmla="*/ 363 w 587"/>
              <a:gd name="T63" fmla="*/ 335 h 476"/>
              <a:gd name="T64" fmla="*/ 277 w 587"/>
              <a:gd name="T65" fmla="*/ 342 h 476"/>
              <a:gd name="T66" fmla="*/ 234 w 587"/>
              <a:gd name="T67" fmla="*/ 358 h 476"/>
              <a:gd name="T68" fmla="*/ 182 w 587"/>
              <a:gd name="T69" fmla="*/ 366 h 476"/>
              <a:gd name="T70" fmla="*/ 155 w 587"/>
              <a:gd name="T71" fmla="*/ 381 h 476"/>
              <a:gd name="T72" fmla="*/ 138 w 587"/>
              <a:gd name="T73" fmla="*/ 396 h 476"/>
              <a:gd name="T74" fmla="*/ 87 w 587"/>
              <a:gd name="T75" fmla="*/ 419 h 476"/>
              <a:gd name="T76" fmla="*/ 43 w 587"/>
              <a:gd name="T77" fmla="*/ 441 h 476"/>
              <a:gd name="T78" fmla="*/ 18 w 587"/>
              <a:gd name="T79" fmla="*/ 449 h 476"/>
              <a:gd name="T80" fmla="*/ 26 w 587"/>
              <a:gd name="T81" fmla="*/ 419 h 476"/>
              <a:gd name="T82" fmla="*/ 60 w 587"/>
              <a:gd name="T83" fmla="*/ 389 h 476"/>
              <a:gd name="T84" fmla="*/ 26 w 587"/>
              <a:gd name="T85" fmla="*/ 358 h 476"/>
              <a:gd name="T86" fmla="*/ 0 w 587"/>
              <a:gd name="T87" fmla="*/ 366 h 47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87" h="476">
                <a:moveTo>
                  <a:pt x="0" y="388"/>
                </a:moveTo>
                <a:lnTo>
                  <a:pt x="28" y="355"/>
                </a:lnTo>
                <a:lnTo>
                  <a:pt x="55" y="299"/>
                </a:lnTo>
                <a:lnTo>
                  <a:pt x="55" y="258"/>
                </a:lnTo>
                <a:lnTo>
                  <a:pt x="129" y="137"/>
                </a:lnTo>
                <a:lnTo>
                  <a:pt x="165" y="113"/>
                </a:lnTo>
                <a:lnTo>
                  <a:pt x="211" y="105"/>
                </a:lnTo>
                <a:lnTo>
                  <a:pt x="266" y="97"/>
                </a:lnTo>
                <a:lnTo>
                  <a:pt x="275" y="89"/>
                </a:lnTo>
                <a:lnTo>
                  <a:pt x="349" y="65"/>
                </a:lnTo>
                <a:lnTo>
                  <a:pt x="404" y="32"/>
                </a:lnTo>
                <a:lnTo>
                  <a:pt x="495" y="8"/>
                </a:lnTo>
                <a:lnTo>
                  <a:pt x="541" y="0"/>
                </a:lnTo>
                <a:lnTo>
                  <a:pt x="559" y="8"/>
                </a:lnTo>
                <a:lnTo>
                  <a:pt x="523" y="49"/>
                </a:lnTo>
                <a:lnTo>
                  <a:pt x="477" y="73"/>
                </a:lnTo>
                <a:lnTo>
                  <a:pt x="486" y="137"/>
                </a:lnTo>
                <a:lnTo>
                  <a:pt x="514" y="154"/>
                </a:lnTo>
                <a:lnTo>
                  <a:pt x="532" y="137"/>
                </a:lnTo>
                <a:lnTo>
                  <a:pt x="541" y="162"/>
                </a:lnTo>
                <a:lnTo>
                  <a:pt x="569" y="210"/>
                </a:lnTo>
                <a:lnTo>
                  <a:pt x="587" y="218"/>
                </a:lnTo>
                <a:lnTo>
                  <a:pt x="550" y="250"/>
                </a:lnTo>
                <a:lnTo>
                  <a:pt x="514" y="291"/>
                </a:lnTo>
                <a:lnTo>
                  <a:pt x="514" y="315"/>
                </a:lnTo>
                <a:lnTo>
                  <a:pt x="504" y="339"/>
                </a:lnTo>
                <a:lnTo>
                  <a:pt x="486" y="339"/>
                </a:lnTo>
                <a:lnTo>
                  <a:pt x="404" y="299"/>
                </a:lnTo>
                <a:lnTo>
                  <a:pt x="376" y="307"/>
                </a:lnTo>
                <a:lnTo>
                  <a:pt x="358" y="315"/>
                </a:lnTo>
                <a:lnTo>
                  <a:pt x="404" y="339"/>
                </a:lnTo>
                <a:lnTo>
                  <a:pt x="385" y="355"/>
                </a:lnTo>
                <a:lnTo>
                  <a:pt x="294" y="363"/>
                </a:lnTo>
                <a:lnTo>
                  <a:pt x="248" y="380"/>
                </a:lnTo>
                <a:lnTo>
                  <a:pt x="193" y="388"/>
                </a:lnTo>
                <a:lnTo>
                  <a:pt x="165" y="404"/>
                </a:lnTo>
                <a:lnTo>
                  <a:pt x="147" y="420"/>
                </a:lnTo>
                <a:lnTo>
                  <a:pt x="92" y="444"/>
                </a:lnTo>
                <a:lnTo>
                  <a:pt x="46" y="468"/>
                </a:lnTo>
                <a:lnTo>
                  <a:pt x="19" y="476"/>
                </a:lnTo>
                <a:lnTo>
                  <a:pt x="28" y="444"/>
                </a:lnTo>
                <a:lnTo>
                  <a:pt x="64" y="412"/>
                </a:lnTo>
                <a:lnTo>
                  <a:pt x="28" y="380"/>
                </a:lnTo>
                <a:lnTo>
                  <a:pt x="0" y="388"/>
                </a:lnTo>
                <a:close/>
              </a:path>
            </a:pathLst>
          </a:custGeom>
          <a:solidFill>
            <a:schemeClr val="hlink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34" name="Rectangle 181"/>
          <p:cNvSpPr>
            <a:spLocks noChangeArrowheads="1"/>
          </p:cNvSpPr>
          <p:nvPr>
            <p:custDataLst>
              <p:tags r:id="rId199"/>
            </p:custDataLst>
          </p:nvPr>
        </p:nvSpPr>
        <p:spPr bwMode="gray">
          <a:xfrm>
            <a:off x="6451538" y="3518185"/>
            <a:ext cx="284945" cy="124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Jhang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37" name="Freeform 78" descr="Wide upward diagonal"/>
          <p:cNvSpPr>
            <a:spLocks/>
          </p:cNvSpPr>
          <p:nvPr>
            <p:custDataLst>
              <p:tags r:id="rId200"/>
            </p:custDataLst>
          </p:nvPr>
        </p:nvSpPr>
        <p:spPr bwMode="gray">
          <a:xfrm>
            <a:off x="7329713" y="2510336"/>
            <a:ext cx="525826" cy="417089"/>
          </a:xfrm>
          <a:custGeom>
            <a:avLst/>
            <a:gdLst>
              <a:gd name="T0" fmla="*/ 60 w 366"/>
              <a:gd name="T1" fmla="*/ 68 h 290"/>
              <a:gd name="T2" fmla="*/ 95 w 366"/>
              <a:gd name="T3" fmla="*/ 53 h 290"/>
              <a:gd name="T4" fmla="*/ 156 w 366"/>
              <a:gd name="T5" fmla="*/ 45 h 290"/>
              <a:gd name="T6" fmla="*/ 207 w 366"/>
              <a:gd name="T7" fmla="*/ 30 h 290"/>
              <a:gd name="T8" fmla="*/ 224 w 366"/>
              <a:gd name="T9" fmla="*/ 0 h 290"/>
              <a:gd name="T10" fmla="*/ 268 w 366"/>
              <a:gd name="T11" fmla="*/ 8 h 290"/>
              <a:gd name="T12" fmla="*/ 294 w 366"/>
              <a:gd name="T13" fmla="*/ 38 h 290"/>
              <a:gd name="T14" fmla="*/ 311 w 366"/>
              <a:gd name="T15" fmla="*/ 75 h 290"/>
              <a:gd name="T16" fmla="*/ 320 w 366"/>
              <a:gd name="T17" fmla="*/ 114 h 290"/>
              <a:gd name="T18" fmla="*/ 345 w 366"/>
              <a:gd name="T19" fmla="*/ 152 h 290"/>
              <a:gd name="T20" fmla="*/ 345 w 366"/>
              <a:gd name="T21" fmla="*/ 197 h 290"/>
              <a:gd name="T22" fmla="*/ 303 w 366"/>
              <a:gd name="T23" fmla="*/ 197 h 290"/>
              <a:gd name="T24" fmla="*/ 259 w 366"/>
              <a:gd name="T25" fmla="*/ 204 h 290"/>
              <a:gd name="T26" fmla="*/ 199 w 366"/>
              <a:gd name="T27" fmla="*/ 228 h 290"/>
              <a:gd name="T28" fmla="*/ 173 w 366"/>
              <a:gd name="T29" fmla="*/ 243 h 290"/>
              <a:gd name="T30" fmla="*/ 147 w 366"/>
              <a:gd name="T31" fmla="*/ 250 h 290"/>
              <a:gd name="T32" fmla="*/ 104 w 366"/>
              <a:gd name="T33" fmla="*/ 273 h 290"/>
              <a:gd name="T34" fmla="*/ 87 w 366"/>
              <a:gd name="T35" fmla="*/ 265 h 290"/>
              <a:gd name="T36" fmla="*/ 60 w 366"/>
              <a:gd name="T37" fmla="*/ 220 h 290"/>
              <a:gd name="T38" fmla="*/ 52 w 366"/>
              <a:gd name="T39" fmla="*/ 197 h 290"/>
              <a:gd name="T40" fmla="*/ 35 w 366"/>
              <a:gd name="T41" fmla="*/ 213 h 290"/>
              <a:gd name="T42" fmla="*/ 8 w 366"/>
              <a:gd name="T43" fmla="*/ 197 h 290"/>
              <a:gd name="T44" fmla="*/ 0 w 366"/>
              <a:gd name="T45" fmla="*/ 137 h 290"/>
              <a:gd name="T46" fmla="*/ 43 w 366"/>
              <a:gd name="T47" fmla="*/ 114 h 290"/>
              <a:gd name="T48" fmla="*/ 77 w 366"/>
              <a:gd name="T49" fmla="*/ 75 h 290"/>
              <a:gd name="T50" fmla="*/ 60 w 366"/>
              <a:gd name="T51" fmla="*/ 68 h 29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366" h="290">
                <a:moveTo>
                  <a:pt x="64" y="72"/>
                </a:moveTo>
                <a:lnTo>
                  <a:pt x="101" y="56"/>
                </a:lnTo>
                <a:lnTo>
                  <a:pt x="165" y="48"/>
                </a:lnTo>
                <a:lnTo>
                  <a:pt x="220" y="32"/>
                </a:lnTo>
                <a:lnTo>
                  <a:pt x="238" y="0"/>
                </a:lnTo>
                <a:lnTo>
                  <a:pt x="284" y="8"/>
                </a:lnTo>
                <a:lnTo>
                  <a:pt x="312" y="40"/>
                </a:lnTo>
                <a:lnTo>
                  <a:pt x="330" y="80"/>
                </a:lnTo>
                <a:lnTo>
                  <a:pt x="339" y="121"/>
                </a:lnTo>
                <a:lnTo>
                  <a:pt x="366" y="161"/>
                </a:lnTo>
                <a:lnTo>
                  <a:pt x="366" y="209"/>
                </a:lnTo>
                <a:lnTo>
                  <a:pt x="321" y="209"/>
                </a:lnTo>
                <a:lnTo>
                  <a:pt x="275" y="217"/>
                </a:lnTo>
                <a:lnTo>
                  <a:pt x="211" y="242"/>
                </a:lnTo>
                <a:lnTo>
                  <a:pt x="183" y="258"/>
                </a:lnTo>
                <a:lnTo>
                  <a:pt x="156" y="266"/>
                </a:lnTo>
                <a:lnTo>
                  <a:pt x="110" y="290"/>
                </a:lnTo>
                <a:lnTo>
                  <a:pt x="92" y="282"/>
                </a:lnTo>
                <a:lnTo>
                  <a:pt x="64" y="234"/>
                </a:lnTo>
                <a:lnTo>
                  <a:pt x="55" y="209"/>
                </a:lnTo>
                <a:lnTo>
                  <a:pt x="37" y="226"/>
                </a:lnTo>
                <a:lnTo>
                  <a:pt x="9" y="209"/>
                </a:lnTo>
                <a:lnTo>
                  <a:pt x="0" y="145"/>
                </a:lnTo>
                <a:lnTo>
                  <a:pt x="46" y="121"/>
                </a:lnTo>
                <a:lnTo>
                  <a:pt x="82" y="80"/>
                </a:lnTo>
                <a:lnTo>
                  <a:pt x="64" y="72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38" name="Rectangle 113"/>
          <p:cNvSpPr>
            <a:spLocks noChangeArrowheads="1"/>
          </p:cNvSpPr>
          <p:nvPr>
            <p:custDataLst>
              <p:tags r:id="rId201"/>
            </p:custDataLst>
          </p:nvPr>
        </p:nvSpPr>
        <p:spPr bwMode="gray">
          <a:xfrm>
            <a:off x="7395813" y="2670417"/>
            <a:ext cx="185067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M.B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39" name="Rectangle 114"/>
          <p:cNvSpPr>
            <a:spLocks noChangeArrowheads="1"/>
          </p:cNvSpPr>
          <p:nvPr>
            <p:custDataLst>
              <p:tags r:id="rId202"/>
            </p:custDataLst>
          </p:nvPr>
        </p:nvSpPr>
        <p:spPr bwMode="gray">
          <a:xfrm>
            <a:off x="7594095" y="2670417"/>
            <a:ext cx="215242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. Din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40" name="Freeform 170"/>
          <p:cNvSpPr>
            <a:spLocks/>
          </p:cNvSpPr>
          <p:nvPr>
            <p:custDataLst>
              <p:tags r:id="rId203"/>
            </p:custDataLst>
          </p:nvPr>
        </p:nvSpPr>
        <p:spPr bwMode="gray">
          <a:xfrm>
            <a:off x="6752480" y="3055196"/>
            <a:ext cx="630110" cy="393591"/>
          </a:xfrm>
          <a:custGeom>
            <a:avLst/>
            <a:gdLst>
              <a:gd name="T0" fmla="*/ 0 w 440"/>
              <a:gd name="T1" fmla="*/ 144 h 274"/>
              <a:gd name="T2" fmla="*/ 0 w 440"/>
              <a:gd name="T3" fmla="*/ 168 h 274"/>
              <a:gd name="T4" fmla="*/ 8 w 440"/>
              <a:gd name="T5" fmla="*/ 198 h 274"/>
              <a:gd name="T6" fmla="*/ 17 w 440"/>
              <a:gd name="T7" fmla="*/ 205 h 274"/>
              <a:gd name="T8" fmla="*/ 34 w 440"/>
              <a:gd name="T9" fmla="*/ 220 h 274"/>
              <a:gd name="T10" fmla="*/ 60 w 440"/>
              <a:gd name="T11" fmla="*/ 235 h 274"/>
              <a:gd name="T12" fmla="*/ 86 w 440"/>
              <a:gd name="T13" fmla="*/ 243 h 274"/>
              <a:gd name="T14" fmla="*/ 104 w 440"/>
              <a:gd name="T15" fmla="*/ 250 h 274"/>
              <a:gd name="T16" fmla="*/ 120 w 440"/>
              <a:gd name="T17" fmla="*/ 250 h 274"/>
              <a:gd name="T18" fmla="*/ 146 w 440"/>
              <a:gd name="T19" fmla="*/ 258 h 274"/>
              <a:gd name="T20" fmla="*/ 164 w 440"/>
              <a:gd name="T21" fmla="*/ 258 h 274"/>
              <a:gd name="T22" fmla="*/ 198 w 440"/>
              <a:gd name="T23" fmla="*/ 258 h 274"/>
              <a:gd name="T24" fmla="*/ 232 w 440"/>
              <a:gd name="T25" fmla="*/ 213 h 274"/>
              <a:gd name="T26" fmla="*/ 241 w 440"/>
              <a:gd name="T27" fmla="*/ 198 h 274"/>
              <a:gd name="T28" fmla="*/ 267 w 440"/>
              <a:gd name="T29" fmla="*/ 190 h 274"/>
              <a:gd name="T30" fmla="*/ 293 w 440"/>
              <a:gd name="T31" fmla="*/ 183 h 274"/>
              <a:gd name="T32" fmla="*/ 319 w 440"/>
              <a:gd name="T33" fmla="*/ 175 h 274"/>
              <a:gd name="T34" fmla="*/ 327 w 440"/>
              <a:gd name="T35" fmla="*/ 159 h 274"/>
              <a:gd name="T36" fmla="*/ 344 w 440"/>
              <a:gd name="T37" fmla="*/ 144 h 274"/>
              <a:gd name="T38" fmla="*/ 362 w 440"/>
              <a:gd name="T39" fmla="*/ 121 h 274"/>
              <a:gd name="T40" fmla="*/ 388 w 440"/>
              <a:gd name="T41" fmla="*/ 106 h 274"/>
              <a:gd name="T42" fmla="*/ 396 w 440"/>
              <a:gd name="T43" fmla="*/ 91 h 274"/>
              <a:gd name="T44" fmla="*/ 414 w 440"/>
              <a:gd name="T45" fmla="*/ 84 h 274"/>
              <a:gd name="T46" fmla="*/ 396 w 440"/>
              <a:gd name="T47" fmla="*/ 76 h 274"/>
              <a:gd name="T48" fmla="*/ 396 w 440"/>
              <a:gd name="T49" fmla="*/ 53 h 274"/>
              <a:gd name="T50" fmla="*/ 396 w 440"/>
              <a:gd name="T51" fmla="*/ 30 h 274"/>
              <a:gd name="T52" fmla="*/ 388 w 440"/>
              <a:gd name="T53" fmla="*/ 23 h 274"/>
              <a:gd name="T54" fmla="*/ 362 w 440"/>
              <a:gd name="T55" fmla="*/ 15 h 274"/>
              <a:gd name="T56" fmla="*/ 353 w 440"/>
              <a:gd name="T57" fmla="*/ 15 h 274"/>
              <a:gd name="T58" fmla="*/ 336 w 440"/>
              <a:gd name="T59" fmla="*/ 0 h 274"/>
              <a:gd name="T60" fmla="*/ 319 w 440"/>
              <a:gd name="T61" fmla="*/ 0 h 274"/>
              <a:gd name="T62" fmla="*/ 311 w 440"/>
              <a:gd name="T63" fmla="*/ 0 h 274"/>
              <a:gd name="T64" fmla="*/ 293 w 440"/>
              <a:gd name="T65" fmla="*/ 0 h 274"/>
              <a:gd name="T66" fmla="*/ 284 w 440"/>
              <a:gd name="T67" fmla="*/ 0 h 274"/>
              <a:gd name="T68" fmla="*/ 276 w 440"/>
              <a:gd name="T69" fmla="*/ 8 h 274"/>
              <a:gd name="T70" fmla="*/ 284 w 440"/>
              <a:gd name="T71" fmla="*/ 15 h 274"/>
              <a:gd name="T72" fmla="*/ 301 w 440"/>
              <a:gd name="T73" fmla="*/ 23 h 274"/>
              <a:gd name="T74" fmla="*/ 311 w 440"/>
              <a:gd name="T75" fmla="*/ 30 h 274"/>
              <a:gd name="T76" fmla="*/ 301 w 440"/>
              <a:gd name="T77" fmla="*/ 45 h 274"/>
              <a:gd name="T78" fmla="*/ 284 w 440"/>
              <a:gd name="T79" fmla="*/ 45 h 274"/>
              <a:gd name="T80" fmla="*/ 267 w 440"/>
              <a:gd name="T81" fmla="*/ 53 h 274"/>
              <a:gd name="T82" fmla="*/ 241 w 440"/>
              <a:gd name="T83" fmla="*/ 53 h 274"/>
              <a:gd name="T84" fmla="*/ 215 w 440"/>
              <a:gd name="T85" fmla="*/ 53 h 274"/>
              <a:gd name="T86" fmla="*/ 207 w 440"/>
              <a:gd name="T87" fmla="*/ 53 h 274"/>
              <a:gd name="T88" fmla="*/ 189 w 440"/>
              <a:gd name="T89" fmla="*/ 61 h 274"/>
              <a:gd name="T90" fmla="*/ 172 w 440"/>
              <a:gd name="T91" fmla="*/ 69 h 274"/>
              <a:gd name="T92" fmla="*/ 164 w 440"/>
              <a:gd name="T93" fmla="*/ 69 h 274"/>
              <a:gd name="T94" fmla="*/ 146 w 440"/>
              <a:gd name="T95" fmla="*/ 76 h 274"/>
              <a:gd name="T96" fmla="*/ 129 w 440"/>
              <a:gd name="T97" fmla="*/ 76 h 274"/>
              <a:gd name="T98" fmla="*/ 120 w 440"/>
              <a:gd name="T99" fmla="*/ 76 h 274"/>
              <a:gd name="T100" fmla="*/ 112 w 440"/>
              <a:gd name="T101" fmla="*/ 84 h 274"/>
              <a:gd name="T102" fmla="*/ 104 w 440"/>
              <a:gd name="T103" fmla="*/ 91 h 274"/>
              <a:gd name="T104" fmla="*/ 86 w 440"/>
              <a:gd name="T105" fmla="*/ 99 h 274"/>
              <a:gd name="T106" fmla="*/ 77 w 440"/>
              <a:gd name="T107" fmla="*/ 106 h 274"/>
              <a:gd name="T108" fmla="*/ 69 w 440"/>
              <a:gd name="T109" fmla="*/ 106 h 274"/>
              <a:gd name="T110" fmla="*/ 52 w 440"/>
              <a:gd name="T111" fmla="*/ 121 h 274"/>
              <a:gd name="T112" fmla="*/ 42 w 440"/>
              <a:gd name="T113" fmla="*/ 129 h 274"/>
              <a:gd name="T114" fmla="*/ 17 w 440"/>
              <a:gd name="T115" fmla="*/ 137 h 274"/>
              <a:gd name="T116" fmla="*/ 0 w 440"/>
              <a:gd name="T117" fmla="*/ 144 h 2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440" h="274">
                <a:moveTo>
                  <a:pt x="0" y="153"/>
                </a:moveTo>
                <a:lnTo>
                  <a:pt x="0" y="178"/>
                </a:lnTo>
                <a:lnTo>
                  <a:pt x="9" y="210"/>
                </a:lnTo>
                <a:lnTo>
                  <a:pt x="18" y="218"/>
                </a:lnTo>
                <a:lnTo>
                  <a:pt x="36" y="234"/>
                </a:lnTo>
                <a:lnTo>
                  <a:pt x="64" y="250"/>
                </a:lnTo>
                <a:lnTo>
                  <a:pt x="91" y="258"/>
                </a:lnTo>
                <a:lnTo>
                  <a:pt x="110" y="266"/>
                </a:lnTo>
                <a:lnTo>
                  <a:pt x="128" y="266"/>
                </a:lnTo>
                <a:lnTo>
                  <a:pt x="155" y="274"/>
                </a:lnTo>
                <a:lnTo>
                  <a:pt x="174" y="274"/>
                </a:lnTo>
                <a:lnTo>
                  <a:pt x="210" y="274"/>
                </a:lnTo>
                <a:lnTo>
                  <a:pt x="247" y="226"/>
                </a:lnTo>
                <a:lnTo>
                  <a:pt x="256" y="210"/>
                </a:lnTo>
                <a:lnTo>
                  <a:pt x="284" y="202"/>
                </a:lnTo>
                <a:lnTo>
                  <a:pt x="311" y="194"/>
                </a:lnTo>
                <a:lnTo>
                  <a:pt x="339" y="186"/>
                </a:lnTo>
                <a:lnTo>
                  <a:pt x="348" y="169"/>
                </a:lnTo>
                <a:lnTo>
                  <a:pt x="366" y="153"/>
                </a:lnTo>
                <a:lnTo>
                  <a:pt x="385" y="129"/>
                </a:lnTo>
                <a:lnTo>
                  <a:pt x="412" y="113"/>
                </a:lnTo>
                <a:lnTo>
                  <a:pt x="421" y="97"/>
                </a:lnTo>
                <a:lnTo>
                  <a:pt x="440" y="89"/>
                </a:lnTo>
                <a:lnTo>
                  <a:pt x="421" y="81"/>
                </a:lnTo>
                <a:lnTo>
                  <a:pt x="421" y="56"/>
                </a:lnTo>
                <a:lnTo>
                  <a:pt x="421" y="32"/>
                </a:lnTo>
                <a:lnTo>
                  <a:pt x="412" y="24"/>
                </a:lnTo>
                <a:lnTo>
                  <a:pt x="385" y="16"/>
                </a:lnTo>
                <a:lnTo>
                  <a:pt x="375" y="16"/>
                </a:lnTo>
                <a:lnTo>
                  <a:pt x="357" y="0"/>
                </a:lnTo>
                <a:lnTo>
                  <a:pt x="339" y="0"/>
                </a:lnTo>
                <a:lnTo>
                  <a:pt x="330" y="0"/>
                </a:lnTo>
                <a:lnTo>
                  <a:pt x="311" y="0"/>
                </a:lnTo>
                <a:lnTo>
                  <a:pt x="302" y="0"/>
                </a:lnTo>
                <a:lnTo>
                  <a:pt x="293" y="8"/>
                </a:lnTo>
                <a:lnTo>
                  <a:pt x="302" y="16"/>
                </a:lnTo>
                <a:lnTo>
                  <a:pt x="320" y="24"/>
                </a:lnTo>
                <a:lnTo>
                  <a:pt x="330" y="32"/>
                </a:lnTo>
                <a:lnTo>
                  <a:pt x="320" y="48"/>
                </a:lnTo>
                <a:lnTo>
                  <a:pt x="302" y="48"/>
                </a:lnTo>
                <a:lnTo>
                  <a:pt x="284" y="56"/>
                </a:lnTo>
                <a:lnTo>
                  <a:pt x="256" y="56"/>
                </a:lnTo>
                <a:lnTo>
                  <a:pt x="229" y="56"/>
                </a:lnTo>
                <a:lnTo>
                  <a:pt x="220" y="56"/>
                </a:lnTo>
                <a:lnTo>
                  <a:pt x="201" y="65"/>
                </a:lnTo>
                <a:lnTo>
                  <a:pt x="183" y="73"/>
                </a:lnTo>
                <a:lnTo>
                  <a:pt x="174" y="73"/>
                </a:lnTo>
                <a:lnTo>
                  <a:pt x="155" y="81"/>
                </a:lnTo>
                <a:lnTo>
                  <a:pt x="137" y="81"/>
                </a:lnTo>
                <a:lnTo>
                  <a:pt x="128" y="81"/>
                </a:lnTo>
                <a:lnTo>
                  <a:pt x="119" y="89"/>
                </a:lnTo>
                <a:lnTo>
                  <a:pt x="110" y="97"/>
                </a:lnTo>
                <a:lnTo>
                  <a:pt x="91" y="105"/>
                </a:lnTo>
                <a:lnTo>
                  <a:pt x="82" y="113"/>
                </a:lnTo>
                <a:lnTo>
                  <a:pt x="73" y="113"/>
                </a:lnTo>
                <a:lnTo>
                  <a:pt x="55" y="129"/>
                </a:lnTo>
                <a:lnTo>
                  <a:pt x="45" y="137"/>
                </a:lnTo>
                <a:lnTo>
                  <a:pt x="18" y="145"/>
                </a:lnTo>
                <a:lnTo>
                  <a:pt x="0" y="153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41" name="Rectangle 187"/>
          <p:cNvSpPr>
            <a:spLocks noChangeArrowheads="1"/>
          </p:cNvSpPr>
          <p:nvPr>
            <p:custDataLst>
              <p:tags r:id="rId204"/>
            </p:custDataLst>
          </p:nvPr>
        </p:nvSpPr>
        <p:spPr bwMode="gray">
          <a:xfrm>
            <a:off x="6862278" y="3203529"/>
            <a:ext cx="323133" cy="124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Chiniot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42" name="Freeform 29"/>
          <p:cNvSpPr>
            <a:spLocks/>
          </p:cNvSpPr>
          <p:nvPr>
            <p:custDataLst>
              <p:tags r:id="rId205"/>
            </p:custDataLst>
          </p:nvPr>
        </p:nvSpPr>
        <p:spPr bwMode="gray">
          <a:xfrm>
            <a:off x="6699611" y="3783634"/>
            <a:ext cx="697674" cy="649133"/>
          </a:xfrm>
          <a:custGeom>
            <a:avLst/>
            <a:gdLst>
              <a:gd name="T0" fmla="*/ 199 w 486"/>
              <a:gd name="T1" fmla="*/ 419 h 453"/>
              <a:gd name="T2" fmla="*/ 190 w 486"/>
              <a:gd name="T3" fmla="*/ 358 h 453"/>
              <a:gd name="T4" fmla="*/ 190 w 486"/>
              <a:gd name="T5" fmla="*/ 304 h 453"/>
              <a:gd name="T6" fmla="*/ 207 w 486"/>
              <a:gd name="T7" fmla="*/ 259 h 453"/>
              <a:gd name="T8" fmla="*/ 164 w 486"/>
              <a:gd name="T9" fmla="*/ 267 h 453"/>
              <a:gd name="T10" fmla="*/ 147 w 486"/>
              <a:gd name="T11" fmla="*/ 274 h 453"/>
              <a:gd name="T12" fmla="*/ 139 w 486"/>
              <a:gd name="T13" fmla="*/ 282 h 453"/>
              <a:gd name="T14" fmla="*/ 112 w 486"/>
              <a:gd name="T15" fmla="*/ 282 h 453"/>
              <a:gd name="T16" fmla="*/ 112 w 486"/>
              <a:gd name="T17" fmla="*/ 282 h 453"/>
              <a:gd name="T18" fmla="*/ 87 w 486"/>
              <a:gd name="T19" fmla="*/ 297 h 453"/>
              <a:gd name="T20" fmla="*/ 69 w 486"/>
              <a:gd name="T21" fmla="*/ 282 h 453"/>
              <a:gd name="T22" fmla="*/ 43 w 486"/>
              <a:gd name="T23" fmla="*/ 304 h 453"/>
              <a:gd name="T24" fmla="*/ 43 w 486"/>
              <a:gd name="T25" fmla="*/ 328 h 453"/>
              <a:gd name="T26" fmla="*/ 0 w 486"/>
              <a:gd name="T27" fmla="*/ 312 h 453"/>
              <a:gd name="T28" fmla="*/ 0 w 486"/>
              <a:gd name="T29" fmla="*/ 289 h 453"/>
              <a:gd name="T30" fmla="*/ 25 w 486"/>
              <a:gd name="T31" fmla="*/ 183 h 453"/>
              <a:gd name="T32" fmla="*/ 25 w 486"/>
              <a:gd name="T33" fmla="*/ 153 h 453"/>
              <a:gd name="T34" fmla="*/ 43 w 486"/>
              <a:gd name="T35" fmla="*/ 145 h 453"/>
              <a:gd name="T36" fmla="*/ 77 w 486"/>
              <a:gd name="T37" fmla="*/ 138 h 453"/>
              <a:gd name="T38" fmla="*/ 112 w 486"/>
              <a:gd name="T39" fmla="*/ 145 h 453"/>
              <a:gd name="T40" fmla="*/ 147 w 486"/>
              <a:gd name="T41" fmla="*/ 145 h 453"/>
              <a:gd name="T42" fmla="*/ 172 w 486"/>
              <a:gd name="T43" fmla="*/ 123 h 453"/>
              <a:gd name="T44" fmla="*/ 199 w 486"/>
              <a:gd name="T45" fmla="*/ 91 h 453"/>
              <a:gd name="T46" fmla="*/ 224 w 486"/>
              <a:gd name="T47" fmla="*/ 84 h 453"/>
              <a:gd name="T48" fmla="*/ 259 w 486"/>
              <a:gd name="T49" fmla="*/ 84 h 453"/>
              <a:gd name="T50" fmla="*/ 303 w 486"/>
              <a:gd name="T51" fmla="*/ 69 h 453"/>
              <a:gd name="T52" fmla="*/ 346 w 486"/>
              <a:gd name="T53" fmla="*/ 46 h 453"/>
              <a:gd name="T54" fmla="*/ 371 w 486"/>
              <a:gd name="T55" fmla="*/ 24 h 453"/>
              <a:gd name="T56" fmla="*/ 423 w 486"/>
              <a:gd name="T57" fmla="*/ 0 h 453"/>
              <a:gd name="T58" fmla="*/ 423 w 486"/>
              <a:gd name="T59" fmla="*/ 16 h 453"/>
              <a:gd name="T60" fmla="*/ 440 w 486"/>
              <a:gd name="T61" fmla="*/ 31 h 453"/>
              <a:gd name="T62" fmla="*/ 423 w 486"/>
              <a:gd name="T63" fmla="*/ 54 h 453"/>
              <a:gd name="T64" fmla="*/ 432 w 486"/>
              <a:gd name="T65" fmla="*/ 69 h 453"/>
              <a:gd name="T66" fmla="*/ 458 w 486"/>
              <a:gd name="T67" fmla="*/ 61 h 453"/>
              <a:gd name="T68" fmla="*/ 450 w 486"/>
              <a:gd name="T69" fmla="*/ 107 h 453"/>
              <a:gd name="T70" fmla="*/ 458 w 486"/>
              <a:gd name="T71" fmla="*/ 130 h 453"/>
              <a:gd name="T72" fmla="*/ 450 w 486"/>
              <a:gd name="T73" fmla="*/ 160 h 453"/>
              <a:gd name="T74" fmla="*/ 432 w 486"/>
              <a:gd name="T75" fmla="*/ 160 h 453"/>
              <a:gd name="T76" fmla="*/ 423 w 486"/>
              <a:gd name="T77" fmla="*/ 183 h 453"/>
              <a:gd name="T78" fmla="*/ 388 w 486"/>
              <a:gd name="T79" fmla="*/ 190 h 453"/>
              <a:gd name="T80" fmla="*/ 346 w 486"/>
              <a:gd name="T81" fmla="*/ 222 h 453"/>
              <a:gd name="T82" fmla="*/ 328 w 486"/>
              <a:gd name="T83" fmla="*/ 252 h 453"/>
              <a:gd name="T84" fmla="*/ 363 w 486"/>
              <a:gd name="T85" fmla="*/ 259 h 453"/>
              <a:gd name="T86" fmla="*/ 388 w 486"/>
              <a:gd name="T87" fmla="*/ 267 h 453"/>
              <a:gd name="T88" fmla="*/ 380 w 486"/>
              <a:gd name="T89" fmla="*/ 282 h 453"/>
              <a:gd name="T90" fmla="*/ 346 w 486"/>
              <a:gd name="T91" fmla="*/ 351 h 453"/>
              <a:gd name="T92" fmla="*/ 354 w 486"/>
              <a:gd name="T93" fmla="*/ 373 h 453"/>
              <a:gd name="T94" fmla="*/ 371 w 486"/>
              <a:gd name="T95" fmla="*/ 381 h 453"/>
              <a:gd name="T96" fmla="*/ 354 w 486"/>
              <a:gd name="T97" fmla="*/ 388 h 453"/>
              <a:gd name="T98" fmla="*/ 328 w 486"/>
              <a:gd name="T99" fmla="*/ 388 h 453"/>
              <a:gd name="T100" fmla="*/ 319 w 486"/>
              <a:gd name="T101" fmla="*/ 403 h 453"/>
              <a:gd name="T102" fmla="*/ 294 w 486"/>
              <a:gd name="T103" fmla="*/ 388 h 453"/>
              <a:gd name="T104" fmla="*/ 276 w 486"/>
              <a:gd name="T105" fmla="*/ 396 h 453"/>
              <a:gd name="T106" fmla="*/ 268 w 486"/>
              <a:gd name="T107" fmla="*/ 419 h 453"/>
              <a:gd name="T108" fmla="*/ 242 w 486"/>
              <a:gd name="T109" fmla="*/ 427 h 453"/>
              <a:gd name="T110" fmla="*/ 199 w 486"/>
              <a:gd name="T111" fmla="*/ 419 h 4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86" h="453">
                <a:moveTo>
                  <a:pt x="211" y="444"/>
                </a:moveTo>
                <a:lnTo>
                  <a:pt x="202" y="380"/>
                </a:lnTo>
                <a:lnTo>
                  <a:pt x="202" y="323"/>
                </a:lnTo>
                <a:lnTo>
                  <a:pt x="220" y="275"/>
                </a:lnTo>
                <a:lnTo>
                  <a:pt x="174" y="283"/>
                </a:lnTo>
                <a:lnTo>
                  <a:pt x="156" y="291"/>
                </a:lnTo>
                <a:lnTo>
                  <a:pt x="147" y="299"/>
                </a:lnTo>
                <a:lnTo>
                  <a:pt x="119" y="299"/>
                </a:lnTo>
                <a:lnTo>
                  <a:pt x="92" y="315"/>
                </a:lnTo>
                <a:lnTo>
                  <a:pt x="73" y="299"/>
                </a:lnTo>
                <a:lnTo>
                  <a:pt x="46" y="323"/>
                </a:lnTo>
                <a:lnTo>
                  <a:pt x="46" y="348"/>
                </a:lnTo>
                <a:lnTo>
                  <a:pt x="0" y="331"/>
                </a:lnTo>
                <a:lnTo>
                  <a:pt x="0" y="307"/>
                </a:lnTo>
                <a:lnTo>
                  <a:pt x="27" y="194"/>
                </a:lnTo>
                <a:lnTo>
                  <a:pt x="27" y="162"/>
                </a:lnTo>
                <a:lnTo>
                  <a:pt x="46" y="154"/>
                </a:lnTo>
                <a:lnTo>
                  <a:pt x="82" y="146"/>
                </a:lnTo>
                <a:lnTo>
                  <a:pt x="119" y="154"/>
                </a:lnTo>
                <a:lnTo>
                  <a:pt x="156" y="154"/>
                </a:lnTo>
                <a:lnTo>
                  <a:pt x="183" y="130"/>
                </a:lnTo>
                <a:lnTo>
                  <a:pt x="211" y="97"/>
                </a:lnTo>
                <a:lnTo>
                  <a:pt x="238" y="89"/>
                </a:lnTo>
                <a:lnTo>
                  <a:pt x="275" y="89"/>
                </a:lnTo>
                <a:lnTo>
                  <a:pt x="321" y="73"/>
                </a:lnTo>
                <a:lnTo>
                  <a:pt x="367" y="49"/>
                </a:lnTo>
                <a:lnTo>
                  <a:pt x="394" y="25"/>
                </a:lnTo>
                <a:lnTo>
                  <a:pt x="449" y="0"/>
                </a:lnTo>
                <a:lnTo>
                  <a:pt x="449" y="17"/>
                </a:lnTo>
                <a:lnTo>
                  <a:pt x="467" y="33"/>
                </a:lnTo>
                <a:lnTo>
                  <a:pt x="449" y="57"/>
                </a:lnTo>
                <a:lnTo>
                  <a:pt x="458" y="73"/>
                </a:lnTo>
                <a:lnTo>
                  <a:pt x="486" y="65"/>
                </a:lnTo>
                <a:lnTo>
                  <a:pt x="477" y="114"/>
                </a:lnTo>
                <a:lnTo>
                  <a:pt x="486" y="138"/>
                </a:lnTo>
                <a:lnTo>
                  <a:pt x="477" y="170"/>
                </a:lnTo>
                <a:lnTo>
                  <a:pt x="458" y="170"/>
                </a:lnTo>
                <a:lnTo>
                  <a:pt x="449" y="194"/>
                </a:lnTo>
                <a:lnTo>
                  <a:pt x="412" y="202"/>
                </a:lnTo>
                <a:lnTo>
                  <a:pt x="367" y="235"/>
                </a:lnTo>
                <a:lnTo>
                  <a:pt x="348" y="267"/>
                </a:lnTo>
                <a:lnTo>
                  <a:pt x="385" y="275"/>
                </a:lnTo>
                <a:lnTo>
                  <a:pt x="412" y="283"/>
                </a:lnTo>
                <a:lnTo>
                  <a:pt x="403" y="299"/>
                </a:lnTo>
                <a:lnTo>
                  <a:pt x="367" y="372"/>
                </a:lnTo>
                <a:lnTo>
                  <a:pt x="376" y="396"/>
                </a:lnTo>
                <a:lnTo>
                  <a:pt x="394" y="404"/>
                </a:lnTo>
                <a:lnTo>
                  <a:pt x="376" y="412"/>
                </a:lnTo>
                <a:lnTo>
                  <a:pt x="348" y="412"/>
                </a:lnTo>
                <a:lnTo>
                  <a:pt x="339" y="428"/>
                </a:lnTo>
                <a:lnTo>
                  <a:pt x="312" y="412"/>
                </a:lnTo>
                <a:lnTo>
                  <a:pt x="293" y="420"/>
                </a:lnTo>
                <a:lnTo>
                  <a:pt x="284" y="444"/>
                </a:lnTo>
                <a:lnTo>
                  <a:pt x="257" y="453"/>
                </a:lnTo>
                <a:lnTo>
                  <a:pt x="211" y="444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43" name="Rectangle 94"/>
          <p:cNvSpPr>
            <a:spLocks noChangeArrowheads="1"/>
          </p:cNvSpPr>
          <p:nvPr>
            <p:custDataLst>
              <p:tags r:id="rId206"/>
            </p:custDataLst>
          </p:nvPr>
        </p:nvSpPr>
        <p:spPr bwMode="gray">
          <a:xfrm>
            <a:off x="6830325" y="4039183"/>
            <a:ext cx="365728" cy="1248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Sahiwal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44" name="Freeform 143"/>
          <p:cNvSpPr>
            <a:spLocks/>
          </p:cNvSpPr>
          <p:nvPr>
            <p:custDataLst>
              <p:tags r:id="rId207"/>
            </p:custDataLst>
          </p:nvPr>
        </p:nvSpPr>
        <p:spPr bwMode="gray">
          <a:xfrm>
            <a:off x="5990178" y="4444524"/>
            <a:ext cx="497919" cy="381842"/>
          </a:xfrm>
          <a:custGeom>
            <a:avLst/>
            <a:gdLst>
              <a:gd name="T0" fmla="*/ 0 w 348"/>
              <a:gd name="T1" fmla="*/ 243 h 266"/>
              <a:gd name="T2" fmla="*/ 0 w 348"/>
              <a:gd name="T3" fmla="*/ 198 h 266"/>
              <a:gd name="T4" fmla="*/ 8 w 348"/>
              <a:gd name="T5" fmla="*/ 159 h 266"/>
              <a:gd name="T6" fmla="*/ 35 w 348"/>
              <a:gd name="T7" fmla="*/ 129 h 266"/>
              <a:gd name="T8" fmla="*/ 26 w 348"/>
              <a:gd name="T9" fmla="*/ 107 h 266"/>
              <a:gd name="T10" fmla="*/ 26 w 348"/>
              <a:gd name="T11" fmla="*/ 91 h 266"/>
              <a:gd name="T12" fmla="*/ 26 w 348"/>
              <a:gd name="T13" fmla="*/ 68 h 266"/>
              <a:gd name="T14" fmla="*/ 78 w 348"/>
              <a:gd name="T15" fmla="*/ 30 h 266"/>
              <a:gd name="T16" fmla="*/ 78 w 348"/>
              <a:gd name="T17" fmla="*/ 15 h 266"/>
              <a:gd name="T18" fmla="*/ 95 w 348"/>
              <a:gd name="T19" fmla="*/ 8 h 266"/>
              <a:gd name="T20" fmla="*/ 120 w 348"/>
              <a:gd name="T21" fmla="*/ 8 h 266"/>
              <a:gd name="T22" fmla="*/ 147 w 348"/>
              <a:gd name="T23" fmla="*/ 0 h 266"/>
              <a:gd name="T24" fmla="*/ 172 w 348"/>
              <a:gd name="T25" fmla="*/ 0 h 266"/>
              <a:gd name="T26" fmla="*/ 207 w 348"/>
              <a:gd name="T27" fmla="*/ 8 h 266"/>
              <a:gd name="T28" fmla="*/ 250 w 348"/>
              <a:gd name="T29" fmla="*/ 23 h 266"/>
              <a:gd name="T30" fmla="*/ 285 w 348"/>
              <a:gd name="T31" fmla="*/ 38 h 266"/>
              <a:gd name="T32" fmla="*/ 302 w 348"/>
              <a:gd name="T33" fmla="*/ 53 h 266"/>
              <a:gd name="T34" fmla="*/ 302 w 348"/>
              <a:gd name="T35" fmla="*/ 91 h 266"/>
              <a:gd name="T36" fmla="*/ 310 w 348"/>
              <a:gd name="T37" fmla="*/ 122 h 266"/>
              <a:gd name="T38" fmla="*/ 310 w 348"/>
              <a:gd name="T39" fmla="*/ 144 h 266"/>
              <a:gd name="T40" fmla="*/ 327 w 348"/>
              <a:gd name="T41" fmla="*/ 167 h 266"/>
              <a:gd name="T42" fmla="*/ 302 w 348"/>
              <a:gd name="T43" fmla="*/ 190 h 266"/>
              <a:gd name="T44" fmla="*/ 275 w 348"/>
              <a:gd name="T45" fmla="*/ 198 h 266"/>
              <a:gd name="T46" fmla="*/ 198 w 348"/>
              <a:gd name="T47" fmla="*/ 206 h 266"/>
              <a:gd name="T48" fmla="*/ 120 w 348"/>
              <a:gd name="T49" fmla="*/ 213 h 266"/>
              <a:gd name="T50" fmla="*/ 103 w 348"/>
              <a:gd name="T51" fmla="*/ 228 h 266"/>
              <a:gd name="T52" fmla="*/ 60 w 348"/>
              <a:gd name="T53" fmla="*/ 236 h 266"/>
              <a:gd name="T54" fmla="*/ 26 w 348"/>
              <a:gd name="T55" fmla="*/ 251 h 266"/>
              <a:gd name="T56" fmla="*/ 0 w 348"/>
              <a:gd name="T57" fmla="*/ 243 h 26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348" h="266">
                <a:moveTo>
                  <a:pt x="0" y="258"/>
                </a:moveTo>
                <a:lnTo>
                  <a:pt x="0" y="210"/>
                </a:lnTo>
                <a:lnTo>
                  <a:pt x="9" y="169"/>
                </a:lnTo>
                <a:lnTo>
                  <a:pt x="37" y="137"/>
                </a:lnTo>
                <a:lnTo>
                  <a:pt x="28" y="113"/>
                </a:lnTo>
                <a:lnTo>
                  <a:pt x="28" y="96"/>
                </a:lnTo>
                <a:lnTo>
                  <a:pt x="28" y="72"/>
                </a:lnTo>
                <a:lnTo>
                  <a:pt x="83" y="32"/>
                </a:lnTo>
                <a:lnTo>
                  <a:pt x="83" y="16"/>
                </a:lnTo>
                <a:lnTo>
                  <a:pt x="101" y="8"/>
                </a:lnTo>
                <a:lnTo>
                  <a:pt x="128" y="8"/>
                </a:lnTo>
                <a:lnTo>
                  <a:pt x="156" y="0"/>
                </a:lnTo>
                <a:lnTo>
                  <a:pt x="183" y="0"/>
                </a:lnTo>
                <a:lnTo>
                  <a:pt x="220" y="8"/>
                </a:lnTo>
                <a:lnTo>
                  <a:pt x="266" y="24"/>
                </a:lnTo>
                <a:lnTo>
                  <a:pt x="303" y="40"/>
                </a:lnTo>
                <a:lnTo>
                  <a:pt x="321" y="56"/>
                </a:lnTo>
                <a:lnTo>
                  <a:pt x="321" y="96"/>
                </a:lnTo>
                <a:lnTo>
                  <a:pt x="330" y="129"/>
                </a:lnTo>
                <a:lnTo>
                  <a:pt x="330" y="153"/>
                </a:lnTo>
                <a:lnTo>
                  <a:pt x="348" y="177"/>
                </a:lnTo>
                <a:lnTo>
                  <a:pt x="321" y="201"/>
                </a:lnTo>
                <a:lnTo>
                  <a:pt x="293" y="210"/>
                </a:lnTo>
                <a:lnTo>
                  <a:pt x="211" y="218"/>
                </a:lnTo>
                <a:lnTo>
                  <a:pt x="128" y="226"/>
                </a:lnTo>
                <a:lnTo>
                  <a:pt x="110" y="242"/>
                </a:lnTo>
                <a:lnTo>
                  <a:pt x="64" y="250"/>
                </a:lnTo>
                <a:lnTo>
                  <a:pt x="28" y="266"/>
                </a:lnTo>
                <a:lnTo>
                  <a:pt x="0" y="25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45" name="Freeform 154"/>
          <p:cNvSpPr>
            <a:spLocks/>
          </p:cNvSpPr>
          <p:nvPr>
            <p:custDataLst>
              <p:tags r:id="rId208"/>
            </p:custDataLst>
          </p:nvPr>
        </p:nvSpPr>
        <p:spPr bwMode="gray">
          <a:xfrm>
            <a:off x="6198746" y="4177227"/>
            <a:ext cx="816647" cy="521362"/>
          </a:xfrm>
          <a:custGeom>
            <a:avLst/>
            <a:gdLst>
              <a:gd name="T0" fmla="*/ 8 w 568"/>
              <a:gd name="T1" fmla="*/ 168 h 363"/>
              <a:gd name="T2" fmla="*/ 0 w 568"/>
              <a:gd name="T3" fmla="*/ 168 h 363"/>
              <a:gd name="T4" fmla="*/ 34 w 568"/>
              <a:gd name="T5" fmla="*/ 106 h 363"/>
              <a:gd name="T6" fmla="*/ 69 w 568"/>
              <a:gd name="T7" fmla="*/ 106 h 363"/>
              <a:gd name="T8" fmla="*/ 112 w 568"/>
              <a:gd name="T9" fmla="*/ 99 h 363"/>
              <a:gd name="T10" fmla="*/ 155 w 568"/>
              <a:gd name="T11" fmla="*/ 114 h 363"/>
              <a:gd name="T12" fmla="*/ 189 w 568"/>
              <a:gd name="T13" fmla="*/ 99 h 363"/>
              <a:gd name="T14" fmla="*/ 216 w 568"/>
              <a:gd name="T15" fmla="*/ 76 h 363"/>
              <a:gd name="T16" fmla="*/ 268 w 568"/>
              <a:gd name="T17" fmla="*/ 61 h 363"/>
              <a:gd name="T18" fmla="*/ 328 w 568"/>
              <a:gd name="T19" fmla="*/ 30 h 363"/>
              <a:gd name="T20" fmla="*/ 328 w 568"/>
              <a:gd name="T21" fmla="*/ 53 h 363"/>
              <a:gd name="T22" fmla="*/ 371 w 568"/>
              <a:gd name="T23" fmla="*/ 76 h 363"/>
              <a:gd name="T24" fmla="*/ 371 w 568"/>
              <a:gd name="T25" fmla="*/ 45 h 363"/>
              <a:gd name="T26" fmla="*/ 397 w 568"/>
              <a:gd name="T27" fmla="*/ 23 h 363"/>
              <a:gd name="T28" fmla="*/ 423 w 568"/>
              <a:gd name="T29" fmla="*/ 38 h 363"/>
              <a:gd name="T30" fmla="*/ 440 w 568"/>
              <a:gd name="T31" fmla="*/ 23 h 363"/>
              <a:gd name="T32" fmla="*/ 448 w 568"/>
              <a:gd name="T33" fmla="*/ 23 h 363"/>
              <a:gd name="T34" fmla="*/ 466 w 568"/>
              <a:gd name="T35" fmla="*/ 23 h 363"/>
              <a:gd name="T36" fmla="*/ 475 w 568"/>
              <a:gd name="T37" fmla="*/ 15 h 363"/>
              <a:gd name="T38" fmla="*/ 492 w 568"/>
              <a:gd name="T39" fmla="*/ 8 h 363"/>
              <a:gd name="T40" fmla="*/ 535 w 568"/>
              <a:gd name="T41" fmla="*/ 0 h 363"/>
              <a:gd name="T42" fmla="*/ 518 w 568"/>
              <a:gd name="T43" fmla="*/ 45 h 363"/>
              <a:gd name="T44" fmla="*/ 518 w 568"/>
              <a:gd name="T45" fmla="*/ 99 h 363"/>
              <a:gd name="T46" fmla="*/ 527 w 568"/>
              <a:gd name="T47" fmla="*/ 159 h 363"/>
              <a:gd name="T48" fmla="*/ 518 w 568"/>
              <a:gd name="T49" fmla="*/ 175 h 363"/>
              <a:gd name="T50" fmla="*/ 509 w 568"/>
              <a:gd name="T51" fmla="*/ 190 h 363"/>
              <a:gd name="T52" fmla="*/ 500 w 568"/>
              <a:gd name="T53" fmla="*/ 220 h 363"/>
              <a:gd name="T54" fmla="*/ 457 w 568"/>
              <a:gd name="T55" fmla="*/ 220 h 363"/>
              <a:gd name="T56" fmla="*/ 448 w 568"/>
              <a:gd name="T57" fmla="*/ 243 h 363"/>
              <a:gd name="T58" fmla="*/ 423 w 568"/>
              <a:gd name="T59" fmla="*/ 266 h 363"/>
              <a:gd name="T60" fmla="*/ 423 w 568"/>
              <a:gd name="T61" fmla="*/ 282 h 363"/>
              <a:gd name="T62" fmla="*/ 388 w 568"/>
              <a:gd name="T63" fmla="*/ 266 h 363"/>
              <a:gd name="T64" fmla="*/ 388 w 568"/>
              <a:gd name="T65" fmla="*/ 243 h 363"/>
              <a:gd name="T66" fmla="*/ 371 w 568"/>
              <a:gd name="T67" fmla="*/ 228 h 363"/>
              <a:gd name="T68" fmla="*/ 336 w 568"/>
              <a:gd name="T69" fmla="*/ 220 h 363"/>
              <a:gd name="T70" fmla="*/ 293 w 568"/>
              <a:gd name="T71" fmla="*/ 236 h 363"/>
              <a:gd name="T72" fmla="*/ 241 w 568"/>
              <a:gd name="T73" fmla="*/ 282 h 363"/>
              <a:gd name="T74" fmla="*/ 259 w 568"/>
              <a:gd name="T75" fmla="*/ 297 h 363"/>
              <a:gd name="T76" fmla="*/ 224 w 568"/>
              <a:gd name="T77" fmla="*/ 312 h 363"/>
              <a:gd name="T78" fmla="*/ 207 w 568"/>
              <a:gd name="T79" fmla="*/ 327 h 363"/>
              <a:gd name="T80" fmla="*/ 189 w 568"/>
              <a:gd name="T81" fmla="*/ 342 h 363"/>
              <a:gd name="T82" fmla="*/ 172 w 568"/>
              <a:gd name="T83" fmla="*/ 319 h 363"/>
              <a:gd name="T84" fmla="*/ 172 w 568"/>
              <a:gd name="T85" fmla="*/ 297 h 363"/>
              <a:gd name="T86" fmla="*/ 164 w 568"/>
              <a:gd name="T87" fmla="*/ 266 h 363"/>
              <a:gd name="T88" fmla="*/ 164 w 568"/>
              <a:gd name="T89" fmla="*/ 228 h 363"/>
              <a:gd name="T90" fmla="*/ 147 w 568"/>
              <a:gd name="T91" fmla="*/ 213 h 363"/>
              <a:gd name="T92" fmla="*/ 112 w 568"/>
              <a:gd name="T93" fmla="*/ 198 h 363"/>
              <a:gd name="T94" fmla="*/ 69 w 568"/>
              <a:gd name="T95" fmla="*/ 183 h 363"/>
              <a:gd name="T96" fmla="*/ 34 w 568"/>
              <a:gd name="T97" fmla="*/ 168 h 363"/>
              <a:gd name="T98" fmla="*/ 8 w 568"/>
              <a:gd name="T99" fmla="*/ 168 h 36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68" h="363">
                <a:moveTo>
                  <a:pt x="9" y="178"/>
                </a:moveTo>
                <a:lnTo>
                  <a:pt x="0" y="178"/>
                </a:lnTo>
                <a:lnTo>
                  <a:pt x="36" y="113"/>
                </a:lnTo>
                <a:lnTo>
                  <a:pt x="73" y="113"/>
                </a:lnTo>
                <a:lnTo>
                  <a:pt x="119" y="105"/>
                </a:lnTo>
                <a:lnTo>
                  <a:pt x="165" y="121"/>
                </a:lnTo>
                <a:lnTo>
                  <a:pt x="201" y="105"/>
                </a:lnTo>
                <a:lnTo>
                  <a:pt x="229" y="81"/>
                </a:lnTo>
                <a:lnTo>
                  <a:pt x="284" y="65"/>
                </a:lnTo>
                <a:lnTo>
                  <a:pt x="348" y="32"/>
                </a:lnTo>
                <a:lnTo>
                  <a:pt x="348" y="56"/>
                </a:lnTo>
                <a:lnTo>
                  <a:pt x="394" y="81"/>
                </a:lnTo>
                <a:lnTo>
                  <a:pt x="394" y="48"/>
                </a:lnTo>
                <a:lnTo>
                  <a:pt x="421" y="24"/>
                </a:lnTo>
                <a:lnTo>
                  <a:pt x="449" y="40"/>
                </a:lnTo>
                <a:lnTo>
                  <a:pt x="467" y="24"/>
                </a:lnTo>
                <a:lnTo>
                  <a:pt x="476" y="24"/>
                </a:lnTo>
                <a:lnTo>
                  <a:pt x="495" y="24"/>
                </a:lnTo>
                <a:lnTo>
                  <a:pt x="504" y="16"/>
                </a:lnTo>
                <a:lnTo>
                  <a:pt x="522" y="8"/>
                </a:lnTo>
                <a:lnTo>
                  <a:pt x="568" y="0"/>
                </a:lnTo>
                <a:lnTo>
                  <a:pt x="550" y="48"/>
                </a:lnTo>
                <a:lnTo>
                  <a:pt x="550" y="105"/>
                </a:lnTo>
                <a:lnTo>
                  <a:pt x="559" y="169"/>
                </a:lnTo>
                <a:lnTo>
                  <a:pt x="550" y="186"/>
                </a:lnTo>
                <a:lnTo>
                  <a:pt x="540" y="202"/>
                </a:lnTo>
                <a:lnTo>
                  <a:pt x="531" y="234"/>
                </a:lnTo>
                <a:lnTo>
                  <a:pt x="485" y="234"/>
                </a:lnTo>
                <a:lnTo>
                  <a:pt x="476" y="258"/>
                </a:lnTo>
                <a:lnTo>
                  <a:pt x="449" y="282"/>
                </a:lnTo>
                <a:lnTo>
                  <a:pt x="449" y="299"/>
                </a:lnTo>
                <a:lnTo>
                  <a:pt x="412" y="282"/>
                </a:lnTo>
                <a:lnTo>
                  <a:pt x="412" y="258"/>
                </a:lnTo>
                <a:lnTo>
                  <a:pt x="394" y="242"/>
                </a:lnTo>
                <a:lnTo>
                  <a:pt x="357" y="234"/>
                </a:lnTo>
                <a:lnTo>
                  <a:pt x="311" y="250"/>
                </a:lnTo>
                <a:lnTo>
                  <a:pt x="256" y="299"/>
                </a:lnTo>
                <a:lnTo>
                  <a:pt x="275" y="315"/>
                </a:lnTo>
                <a:lnTo>
                  <a:pt x="238" y="331"/>
                </a:lnTo>
                <a:lnTo>
                  <a:pt x="220" y="347"/>
                </a:lnTo>
                <a:lnTo>
                  <a:pt x="201" y="363"/>
                </a:lnTo>
                <a:lnTo>
                  <a:pt x="183" y="339"/>
                </a:lnTo>
                <a:lnTo>
                  <a:pt x="183" y="315"/>
                </a:lnTo>
                <a:lnTo>
                  <a:pt x="174" y="282"/>
                </a:lnTo>
                <a:lnTo>
                  <a:pt x="174" y="242"/>
                </a:lnTo>
                <a:lnTo>
                  <a:pt x="156" y="226"/>
                </a:lnTo>
                <a:lnTo>
                  <a:pt x="119" y="210"/>
                </a:lnTo>
                <a:lnTo>
                  <a:pt x="73" y="194"/>
                </a:lnTo>
                <a:lnTo>
                  <a:pt x="36" y="178"/>
                </a:lnTo>
                <a:lnTo>
                  <a:pt x="9" y="17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46" name="Rectangle 172"/>
          <p:cNvSpPr>
            <a:spLocks noChangeArrowheads="1"/>
          </p:cNvSpPr>
          <p:nvPr>
            <p:custDataLst>
              <p:tags r:id="rId209"/>
            </p:custDataLst>
          </p:nvPr>
        </p:nvSpPr>
        <p:spPr bwMode="gray">
          <a:xfrm>
            <a:off x="6054805" y="4570818"/>
            <a:ext cx="383354" cy="1248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Lodhran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47" name="Rectangle 101"/>
          <p:cNvSpPr>
            <a:spLocks noChangeArrowheads="1"/>
          </p:cNvSpPr>
          <p:nvPr>
            <p:custDataLst>
              <p:tags r:id="rId210"/>
            </p:custDataLst>
          </p:nvPr>
        </p:nvSpPr>
        <p:spPr bwMode="gray">
          <a:xfrm>
            <a:off x="6529230" y="4340564"/>
            <a:ext cx="296821" cy="125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Vehari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53" name="Freeform 52"/>
          <p:cNvSpPr>
            <a:spLocks/>
          </p:cNvSpPr>
          <p:nvPr>
            <p:custDataLst>
              <p:tags r:id="rId211"/>
            </p:custDataLst>
          </p:nvPr>
        </p:nvSpPr>
        <p:spPr bwMode="gray">
          <a:xfrm>
            <a:off x="6054812" y="3876158"/>
            <a:ext cx="681518" cy="590387"/>
          </a:xfrm>
          <a:custGeom>
            <a:avLst/>
            <a:gdLst>
              <a:gd name="T0" fmla="*/ 35 w 476"/>
              <a:gd name="T1" fmla="*/ 388 h 412"/>
              <a:gd name="T2" fmla="*/ 0 w 476"/>
              <a:gd name="T3" fmla="*/ 365 h 412"/>
              <a:gd name="T4" fmla="*/ 17 w 476"/>
              <a:gd name="T5" fmla="*/ 319 h 412"/>
              <a:gd name="T6" fmla="*/ 87 w 476"/>
              <a:gd name="T7" fmla="*/ 282 h 412"/>
              <a:gd name="T8" fmla="*/ 112 w 476"/>
              <a:gd name="T9" fmla="*/ 243 h 412"/>
              <a:gd name="T10" fmla="*/ 120 w 476"/>
              <a:gd name="T11" fmla="*/ 220 h 412"/>
              <a:gd name="T12" fmla="*/ 120 w 476"/>
              <a:gd name="T13" fmla="*/ 198 h 412"/>
              <a:gd name="T14" fmla="*/ 87 w 476"/>
              <a:gd name="T15" fmla="*/ 175 h 412"/>
              <a:gd name="T16" fmla="*/ 77 w 476"/>
              <a:gd name="T17" fmla="*/ 160 h 412"/>
              <a:gd name="T18" fmla="*/ 60 w 476"/>
              <a:gd name="T19" fmla="*/ 137 h 412"/>
              <a:gd name="T20" fmla="*/ 43 w 476"/>
              <a:gd name="T21" fmla="*/ 121 h 412"/>
              <a:gd name="T22" fmla="*/ 35 w 476"/>
              <a:gd name="T23" fmla="*/ 121 h 412"/>
              <a:gd name="T24" fmla="*/ 77 w 476"/>
              <a:gd name="T25" fmla="*/ 99 h 412"/>
              <a:gd name="T26" fmla="*/ 112 w 476"/>
              <a:gd name="T27" fmla="*/ 76 h 412"/>
              <a:gd name="T28" fmla="*/ 129 w 476"/>
              <a:gd name="T29" fmla="*/ 69 h 412"/>
              <a:gd name="T30" fmla="*/ 155 w 476"/>
              <a:gd name="T31" fmla="*/ 30 h 412"/>
              <a:gd name="T32" fmla="*/ 172 w 476"/>
              <a:gd name="T33" fmla="*/ 23 h 412"/>
              <a:gd name="T34" fmla="*/ 207 w 476"/>
              <a:gd name="T35" fmla="*/ 15 h 412"/>
              <a:gd name="T36" fmla="*/ 232 w 476"/>
              <a:gd name="T37" fmla="*/ 23 h 412"/>
              <a:gd name="T38" fmla="*/ 259 w 476"/>
              <a:gd name="T39" fmla="*/ 15 h 412"/>
              <a:gd name="T40" fmla="*/ 284 w 476"/>
              <a:gd name="T41" fmla="*/ 0 h 412"/>
              <a:gd name="T42" fmla="*/ 328 w 476"/>
              <a:gd name="T43" fmla="*/ 8 h 412"/>
              <a:gd name="T44" fmla="*/ 311 w 476"/>
              <a:gd name="T45" fmla="*/ 38 h 412"/>
              <a:gd name="T46" fmla="*/ 311 w 476"/>
              <a:gd name="T47" fmla="*/ 76 h 412"/>
              <a:gd name="T48" fmla="*/ 388 w 476"/>
              <a:gd name="T49" fmla="*/ 99 h 412"/>
              <a:gd name="T50" fmla="*/ 448 w 476"/>
              <a:gd name="T51" fmla="*/ 91 h 412"/>
              <a:gd name="T52" fmla="*/ 448 w 476"/>
              <a:gd name="T53" fmla="*/ 121 h 412"/>
              <a:gd name="T54" fmla="*/ 423 w 476"/>
              <a:gd name="T55" fmla="*/ 228 h 412"/>
              <a:gd name="T56" fmla="*/ 362 w 476"/>
              <a:gd name="T57" fmla="*/ 259 h 412"/>
              <a:gd name="T58" fmla="*/ 311 w 476"/>
              <a:gd name="T59" fmla="*/ 274 h 412"/>
              <a:gd name="T60" fmla="*/ 284 w 476"/>
              <a:gd name="T61" fmla="*/ 297 h 412"/>
              <a:gd name="T62" fmla="*/ 250 w 476"/>
              <a:gd name="T63" fmla="*/ 312 h 412"/>
              <a:gd name="T64" fmla="*/ 207 w 476"/>
              <a:gd name="T65" fmla="*/ 297 h 412"/>
              <a:gd name="T66" fmla="*/ 164 w 476"/>
              <a:gd name="T67" fmla="*/ 304 h 412"/>
              <a:gd name="T68" fmla="*/ 129 w 476"/>
              <a:gd name="T69" fmla="*/ 304 h 412"/>
              <a:gd name="T70" fmla="*/ 95 w 476"/>
              <a:gd name="T71" fmla="*/ 365 h 412"/>
              <a:gd name="T72" fmla="*/ 104 w 476"/>
              <a:gd name="T73" fmla="*/ 365 h 412"/>
              <a:gd name="T74" fmla="*/ 77 w 476"/>
              <a:gd name="T75" fmla="*/ 380 h 412"/>
              <a:gd name="T76" fmla="*/ 52 w 476"/>
              <a:gd name="T77" fmla="*/ 380 h 412"/>
              <a:gd name="T78" fmla="*/ 35 w 476"/>
              <a:gd name="T79" fmla="*/ 388 h 41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476" h="412">
                <a:moveTo>
                  <a:pt x="37" y="412"/>
                </a:moveTo>
                <a:lnTo>
                  <a:pt x="0" y="388"/>
                </a:lnTo>
                <a:lnTo>
                  <a:pt x="18" y="339"/>
                </a:lnTo>
                <a:lnTo>
                  <a:pt x="92" y="299"/>
                </a:lnTo>
                <a:lnTo>
                  <a:pt x="119" y="258"/>
                </a:lnTo>
                <a:lnTo>
                  <a:pt x="128" y="234"/>
                </a:lnTo>
                <a:lnTo>
                  <a:pt x="128" y="210"/>
                </a:lnTo>
                <a:lnTo>
                  <a:pt x="92" y="186"/>
                </a:lnTo>
                <a:lnTo>
                  <a:pt x="82" y="170"/>
                </a:lnTo>
                <a:lnTo>
                  <a:pt x="64" y="145"/>
                </a:lnTo>
                <a:lnTo>
                  <a:pt x="46" y="129"/>
                </a:lnTo>
                <a:lnTo>
                  <a:pt x="37" y="129"/>
                </a:lnTo>
                <a:lnTo>
                  <a:pt x="82" y="105"/>
                </a:lnTo>
                <a:lnTo>
                  <a:pt x="119" y="81"/>
                </a:lnTo>
                <a:lnTo>
                  <a:pt x="137" y="73"/>
                </a:lnTo>
                <a:lnTo>
                  <a:pt x="165" y="32"/>
                </a:lnTo>
                <a:lnTo>
                  <a:pt x="183" y="24"/>
                </a:lnTo>
                <a:lnTo>
                  <a:pt x="220" y="16"/>
                </a:lnTo>
                <a:lnTo>
                  <a:pt x="247" y="24"/>
                </a:lnTo>
                <a:lnTo>
                  <a:pt x="275" y="16"/>
                </a:lnTo>
                <a:lnTo>
                  <a:pt x="302" y="0"/>
                </a:lnTo>
                <a:lnTo>
                  <a:pt x="348" y="8"/>
                </a:lnTo>
                <a:lnTo>
                  <a:pt x="330" y="40"/>
                </a:lnTo>
                <a:lnTo>
                  <a:pt x="330" y="81"/>
                </a:lnTo>
                <a:lnTo>
                  <a:pt x="412" y="105"/>
                </a:lnTo>
                <a:lnTo>
                  <a:pt x="476" y="97"/>
                </a:lnTo>
                <a:lnTo>
                  <a:pt x="476" y="129"/>
                </a:lnTo>
                <a:lnTo>
                  <a:pt x="449" y="242"/>
                </a:lnTo>
                <a:lnTo>
                  <a:pt x="385" y="275"/>
                </a:lnTo>
                <a:lnTo>
                  <a:pt x="330" y="291"/>
                </a:lnTo>
                <a:lnTo>
                  <a:pt x="302" y="315"/>
                </a:lnTo>
                <a:lnTo>
                  <a:pt x="266" y="331"/>
                </a:lnTo>
                <a:lnTo>
                  <a:pt x="220" y="315"/>
                </a:lnTo>
                <a:lnTo>
                  <a:pt x="174" y="323"/>
                </a:lnTo>
                <a:lnTo>
                  <a:pt x="137" y="323"/>
                </a:lnTo>
                <a:lnTo>
                  <a:pt x="101" y="388"/>
                </a:lnTo>
                <a:lnTo>
                  <a:pt x="110" y="388"/>
                </a:lnTo>
                <a:lnTo>
                  <a:pt x="82" y="404"/>
                </a:lnTo>
                <a:lnTo>
                  <a:pt x="55" y="404"/>
                </a:lnTo>
                <a:lnTo>
                  <a:pt x="37" y="412"/>
                </a:lnTo>
                <a:close/>
              </a:path>
            </a:pathLst>
          </a:custGeom>
          <a:solidFill>
            <a:schemeClr val="hlink"/>
          </a:solidFill>
          <a:ln w="12700">
            <a:solidFill>
              <a:schemeClr val="bg1"/>
            </a:solidFill>
            <a:round/>
            <a:headEnd/>
            <a:tailEnd/>
          </a:ln>
          <a:extLst/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54" name="Rectangle 95"/>
          <p:cNvSpPr>
            <a:spLocks noChangeArrowheads="1"/>
          </p:cNvSpPr>
          <p:nvPr>
            <p:custDataLst>
              <p:tags r:id="rId212"/>
            </p:custDataLst>
          </p:nvPr>
        </p:nvSpPr>
        <p:spPr bwMode="gray">
          <a:xfrm>
            <a:off x="6238412" y="4084708"/>
            <a:ext cx="458262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Khanewal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56" name="Freeform 24"/>
          <p:cNvSpPr>
            <a:spLocks/>
          </p:cNvSpPr>
          <p:nvPr>
            <p:custDataLst>
              <p:tags r:id="rId213"/>
            </p:custDataLst>
          </p:nvPr>
        </p:nvSpPr>
        <p:spPr bwMode="gray">
          <a:xfrm>
            <a:off x="6529231" y="3472286"/>
            <a:ext cx="539045" cy="553672"/>
          </a:xfrm>
          <a:custGeom>
            <a:avLst/>
            <a:gdLst>
              <a:gd name="T0" fmla="*/ 137 w 376"/>
              <a:gd name="T1" fmla="*/ 356 h 387"/>
              <a:gd name="T2" fmla="*/ 77 w 376"/>
              <a:gd name="T3" fmla="*/ 364 h 387"/>
              <a:gd name="T4" fmla="*/ 0 w 376"/>
              <a:gd name="T5" fmla="*/ 341 h 387"/>
              <a:gd name="T6" fmla="*/ 0 w 376"/>
              <a:gd name="T7" fmla="*/ 303 h 387"/>
              <a:gd name="T8" fmla="*/ 17 w 376"/>
              <a:gd name="T9" fmla="*/ 273 h 387"/>
              <a:gd name="T10" fmla="*/ 52 w 376"/>
              <a:gd name="T11" fmla="*/ 250 h 387"/>
              <a:gd name="T12" fmla="*/ 52 w 376"/>
              <a:gd name="T13" fmla="*/ 235 h 387"/>
              <a:gd name="T14" fmla="*/ 52 w 376"/>
              <a:gd name="T15" fmla="*/ 220 h 387"/>
              <a:gd name="T16" fmla="*/ 69 w 376"/>
              <a:gd name="T17" fmla="*/ 197 h 387"/>
              <a:gd name="T18" fmla="*/ 86 w 376"/>
              <a:gd name="T19" fmla="*/ 189 h 387"/>
              <a:gd name="T20" fmla="*/ 112 w 376"/>
              <a:gd name="T21" fmla="*/ 159 h 387"/>
              <a:gd name="T22" fmla="*/ 137 w 376"/>
              <a:gd name="T23" fmla="*/ 129 h 387"/>
              <a:gd name="T24" fmla="*/ 164 w 376"/>
              <a:gd name="T25" fmla="*/ 114 h 387"/>
              <a:gd name="T26" fmla="*/ 181 w 376"/>
              <a:gd name="T27" fmla="*/ 75 h 387"/>
              <a:gd name="T28" fmla="*/ 233 w 376"/>
              <a:gd name="T29" fmla="*/ 53 h 387"/>
              <a:gd name="T30" fmla="*/ 267 w 376"/>
              <a:gd name="T31" fmla="*/ 30 h 387"/>
              <a:gd name="T32" fmla="*/ 302 w 376"/>
              <a:gd name="T33" fmla="*/ 15 h 387"/>
              <a:gd name="T34" fmla="*/ 336 w 376"/>
              <a:gd name="T35" fmla="*/ 0 h 387"/>
              <a:gd name="T36" fmla="*/ 328 w 376"/>
              <a:gd name="T37" fmla="*/ 8 h 387"/>
              <a:gd name="T38" fmla="*/ 328 w 376"/>
              <a:gd name="T39" fmla="*/ 30 h 387"/>
              <a:gd name="T40" fmla="*/ 354 w 376"/>
              <a:gd name="T41" fmla="*/ 53 h 387"/>
              <a:gd name="T42" fmla="*/ 336 w 376"/>
              <a:gd name="T43" fmla="*/ 68 h 387"/>
              <a:gd name="T44" fmla="*/ 319 w 376"/>
              <a:gd name="T45" fmla="*/ 83 h 387"/>
              <a:gd name="T46" fmla="*/ 302 w 376"/>
              <a:gd name="T47" fmla="*/ 98 h 387"/>
              <a:gd name="T48" fmla="*/ 302 w 376"/>
              <a:gd name="T49" fmla="*/ 129 h 387"/>
              <a:gd name="T50" fmla="*/ 302 w 376"/>
              <a:gd name="T51" fmla="*/ 151 h 387"/>
              <a:gd name="T52" fmla="*/ 319 w 376"/>
              <a:gd name="T53" fmla="*/ 159 h 387"/>
              <a:gd name="T54" fmla="*/ 302 w 376"/>
              <a:gd name="T55" fmla="*/ 197 h 387"/>
              <a:gd name="T56" fmla="*/ 276 w 376"/>
              <a:gd name="T57" fmla="*/ 213 h 387"/>
              <a:gd name="T58" fmla="*/ 259 w 376"/>
              <a:gd name="T59" fmla="*/ 228 h 387"/>
              <a:gd name="T60" fmla="*/ 276 w 376"/>
              <a:gd name="T61" fmla="*/ 250 h 387"/>
              <a:gd name="T62" fmla="*/ 293 w 376"/>
              <a:gd name="T63" fmla="*/ 265 h 387"/>
              <a:gd name="T64" fmla="*/ 276 w 376"/>
              <a:gd name="T65" fmla="*/ 273 h 387"/>
              <a:gd name="T66" fmla="*/ 267 w 376"/>
              <a:gd name="T67" fmla="*/ 295 h 387"/>
              <a:gd name="T68" fmla="*/ 293 w 376"/>
              <a:gd name="T69" fmla="*/ 288 h 387"/>
              <a:gd name="T70" fmla="*/ 311 w 376"/>
              <a:gd name="T71" fmla="*/ 295 h 387"/>
              <a:gd name="T72" fmla="*/ 284 w 376"/>
              <a:gd name="T73" fmla="*/ 326 h 387"/>
              <a:gd name="T74" fmla="*/ 259 w 376"/>
              <a:gd name="T75" fmla="*/ 349 h 387"/>
              <a:gd name="T76" fmla="*/ 233 w 376"/>
              <a:gd name="T77" fmla="*/ 349 h 387"/>
              <a:gd name="T78" fmla="*/ 189 w 376"/>
              <a:gd name="T79" fmla="*/ 341 h 387"/>
              <a:gd name="T80" fmla="*/ 155 w 376"/>
              <a:gd name="T81" fmla="*/ 349 h 387"/>
              <a:gd name="T82" fmla="*/ 137 w 376"/>
              <a:gd name="T83" fmla="*/ 356 h 38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376" h="387">
                <a:moveTo>
                  <a:pt x="146" y="379"/>
                </a:moveTo>
                <a:lnTo>
                  <a:pt x="82" y="387"/>
                </a:lnTo>
                <a:lnTo>
                  <a:pt x="0" y="363"/>
                </a:lnTo>
                <a:lnTo>
                  <a:pt x="0" y="322"/>
                </a:lnTo>
                <a:lnTo>
                  <a:pt x="18" y="290"/>
                </a:lnTo>
                <a:lnTo>
                  <a:pt x="55" y="266"/>
                </a:lnTo>
                <a:lnTo>
                  <a:pt x="55" y="250"/>
                </a:lnTo>
                <a:lnTo>
                  <a:pt x="55" y="234"/>
                </a:lnTo>
                <a:lnTo>
                  <a:pt x="73" y="209"/>
                </a:lnTo>
                <a:lnTo>
                  <a:pt x="91" y="201"/>
                </a:lnTo>
                <a:lnTo>
                  <a:pt x="119" y="169"/>
                </a:lnTo>
                <a:lnTo>
                  <a:pt x="146" y="137"/>
                </a:lnTo>
                <a:lnTo>
                  <a:pt x="174" y="121"/>
                </a:lnTo>
                <a:lnTo>
                  <a:pt x="192" y="80"/>
                </a:lnTo>
                <a:lnTo>
                  <a:pt x="247" y="56"/>
                </a:lnTo>
                <a:lnTo>
                  <a:pt x="284" y="32"/>
                </a:lnTo>
                <a:lnTo>
                  <a:pt x="321" y="16"/>
                </a:lnTo>
                <a:lnTo>
                  <a:pt x="357" y="0"/>
                </a:lnTo>
                <a:lnTo>
                  <a:pt x="348" y="8"/>
                </a:lnTo>
                <a:lnTo>
                  <a:pt x="348" y="32"/>
                </a:lnTo>
                <a:lnTo>
                  <a:pt x="376" y="56"/>
                </a:lnTo>
                <a:lnTo>
                  <a:pt x="357" y="72"/>
                </a:lnTo>
                <a:lnTo>
                  <a:pt x="339" y="88"/>
                </a:lnTo>
                <a:lnTo>
                  <a:pt x="321" y="104"/>
                </a:lnTo>
                <a:lnTo>
                  <a:pt x="321" y="137"/>
                </a:lnTo>
                <a:lnTo>
                  <a:pt x="321" y="161"/>
                </a:lnTo>
                <a:lnTo>
                  <a:pt x="339" y="169"/>
                </a:lnTo>
                <a:lnTo>
                  <a:pt x="321" y="209"/>
                </a:lnTo>
                <a:lnTo>
                  <a:pt x="293" y="226"/>
                </a:lnTo>
                <a:lnTo>
                  <a:pt x="275" y="242"/>
                </a:lnTo>
                <a:lnTo>
                  <a:pt x="293" y="266"/>
                </a:lnTo>
                <a:lnTo>
                  <a:pt x="311" y="282"/>
                </a:lnTo>
                <a:lnTo>
                  <a:pt x="293" y="290"/>
                </a:lnTo>
                <a:lnTo>
                  <a:pt x="284" y="314"/>
                </a:lnTo>
                <a:lnTo>
                  <a:pt x="311" y="306"/>
                </a:lnTo>
                <a:lnTo>
                  <a:pt x="330" y="314"/>
                </a:lnTo>
                <a:lnTo>
                  <a:pt x="302" y="347"/>
                </a:lnTo>
                <a:lnTo>
                  <a:pt x="275" y="371"/>
                </a:lnTo>
                <a:lnTo>
                  <a:pt x="247" y="371"/>
                </a:lnTo>
                <a:lnTo>
                  <a:pt x="201" y="363"/>
                </a:lnTo>
                <a:lnTo>
                  <a:pt x="165" y="371"/>
                </a:lnTo>
                <a:lnTo>
                  <a:pt x="146" y="379"/>
                </a:lnTo>
                <a:close/>
              </a:path>
            </a:pathLst>
          </a:custGeom>
          <a:solidFill>
            <a:schemeClr val="hlink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57" name="Rectangle 107"/>
          <p:cNvSpPr>
            <a:spLocks noChangeArrowheads="1"/>
          </p:cNvSpPr>
          <p:nvPr>
            <p:custDataLst>
              <p:tags r:id="rId214"/>
            </p:custDataLst>
          </p:nvPr>
        </p:nvSpPr>
        <p:spPr bwMode="gray">
          <a:xfrm>
            <a:off x="6698365" y="3719106"/>
            <a:ext cx="145369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T.T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58" name="Rectangle 109"/>
          <p:cNvSpPr>
            <a:spLocks noChangeArrowheads="1"/>
          </p:cNvSpPr>
          <p:nvPr>
            <p:custDataLst>
              <p:tags r:id="rId215"/>
            </p:custDataLst>
          </p:nvPr>
        </p:nvSpPr>
        <p:spPr bwMode="gray">
          <a:xfrm>
            <a:off x="6642548" y="3835126"/>
            <a:ext cx="267319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Singh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59" name="Freeform 155" descr="Wide upward diagonal"/>
          <p:cNvSpPr>
            <a:spLocks/>
          </p:cNvSpPr>
          <p:nvPr>
            <p:custDataLst>
              <p:tags r:id="rId216"/>
            </p:custDataLst>
          </p:nvPr>
        </p:nvSpPr>
        <p:spPr bwMode="gray">
          <a:xfrm>
            <a:off x="7200467" y="3992180"/>
            <a:ext cx="393635" cy="371562"/>
          </a:xfrm>
          <a:custGeom>
            <a:avLst/>
            <a:gdLst>
              <a:gd name="T0" fmla="*/ 95 w 275"/>
              <a:gd name="T1" fmla="*/ 45 h 258"/>
              <a:gd name="T2" fmla="*/ 121 w 275"/>
              <a:gd name="T3" fmla="*/ 45 h 258"/>
              <a:gd name="T4" fmla="*/ 147 w 275"/>
              <a:gd name="T5" fmla="*/ 45 h 258"/>
              <a:gd name="T6" fmla="*/ 164 w 275"/>
              <a:gd name="T7" fmla="*/ 0 h 258"/>
              <a:gd name="T8" fmla="*/ 182 w 275"/>
              <a:gd name="T9" fmla="*/ 0 h 258"/>
              <a:gd name="T10" fmla="*/ 190 w 275"/>
              <a:gd name="T11" fmla="*/ 23 h 258"/>
              <a:gd name="T12" fmla="*/ 199 w 275"/>
              <a:gd name="T13" fmla="*/ 45 h 258"/>
              <a:gd name="T14" fmla="*/ 234 w 275"/>
              <a:gd name="T15" fmla="*/ 53 h 258"/>
              <a:gd name="T16" fmla="*/ 259 w 275"/>
              <a:gd name="T17" fmla="*/ 68 h 258"/>
              <a:gd name="T18" fmla="*/ 251 w 275"/>
              <a:gd name="T19" fmla="*/ 84 h 258"/>
              <a:gd name="T20" fmla="*/ 251 w 275"/>
              <a:gd name="T21" fmla="*/ 114 h 258"/>
              <a:gd name="T22" fmla="*/ 251 w 275"/>
              <a:gd name="T23" fmla="*/ 137 h 258"/>
              <a:gd name="T24" fmla="*/ 251 w 275"/>
              <a:gd name="T25" fmla="*/ 152 h 258"/>
              <a:gd name="T26" fmla="*/ 182 w 275"/>
              <a:gd name="T27" fmla="*/ 174 h 258"/>
              <a:gd name="T28" fmla="*/ 138 w 275"/>
              <a:gd name="T29" fmla="*/ 198 h 258"/>
              <a:gd name="T30" fmla="*/ 130 w 275"/>
              <a:gd name="T31" fmla="*/ 220 h 258"/>
              <a:gd name="T32" fmla="*/ 87 w 275"/>
              <a:gd name="T33" fmla="*/ 228 h 258"/>
              <a:gd name="T34" fmla="*/ 43 w 275"/>
              <a:gd name="T35" fmla="*/ 243 h 258"/>
              <a:gd name="T36" fmla="*/ 26 w 275"/>
              <a:gd name="T37" fmla="*/ 235 h 258"/>
              <a:gd name="T38" fmla="*/ 18 w 275"/>
              <a:gd name="T39" fmla="*/ 213 h 258"/>
              <a:gd name="T40" fmla="*/ 52 w 275"/>
              <a:gd name="T41" fmla="*/ 144 h 258"/>
              <a:gd name="T42" fmla="*/ 60 w 275"/>
              <a:gd name="T43" fmla="*/ 129 h 258"/>
              <a:gd name="T44" fmla="*/ 35 w 275"/>
              <a:gd name="T45" fmla="*/ 122 h 258"/>
              <a:gd name="T46" fmla="*/ 0 w 275"/>
              <a:gd name="T47" fmla="*/ 114 h 258"/>
              <a:gd name="T48" fmla="*/ 18 w 275"/>
              <a:gd name="T49" fmla="*/ 84 h 258"/>
              <a:gd name="T50" fmla="*/ 60 w 275"/>
              <a:gd name="T51" fmla="*/ 53 h 258"/>
              <a:gd name="T52" fmla="*/ 95 w 275"/>
              <a:gd name="T53" fmla="*/ 45 h 25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75" h="258">
                <a:moveTo>
                  <a:pt x="101" y="48"/>
                </a:moveTo>
                <a:lnTo>
                  <a:pt x="129" y="48"/>
                </a:lnTo>
                <a:lnTo>
                  <a:pt x="156" y="48"/>
                </a:lnTo>
                <a:lnTo>
                  <a:pt x="174" y="0"/>
                </a:lnTo>
                <a:lnTo>
                  <a:pt x="193" y="0"/>
                </a:lnTo>
                <a:lnTo>
                  <a:pt x="202" y="24"/>
                </a:lnTo>
                <a:lnTo>
                  <a:pt x="211" y="48"/>
                </a:lnTo>
                <a:lnTo>
                  <a:pt x="248" y="56"/>
                </a:lnTo>
                <a:lnTo>
                  <a:pt x="275" y="72"/>
                </a:lnTo>
                <a:lnTo>
                  <a:pt x="266" y="89"/>
                </a:lnTo>
                <a:lnTo>
                  <a:pt x="266" y="121"/>
                </a:lnTo>
                <a:lnTo>
                  <a:pt x="266" y="145"/>
                </a:lnTo>
                <a:lnTo>
                  <a:pt x="266" y="161"/>
                </a:lnTo>
                <a:lnTo>
                  <a:pt x="193" y="185"/>
                </a:lnTo>
                <a:lnTo>
                  <a:pt x="147" y="210"/>
                </a:lnTo>
                <a:lnTo>
                  <a:pt x="138" y="234"/>
                </a:lnTo>
                <a:lnTo>
                  <a:pt x="92" y="242"/>
                </a:lnTo>
                <a:lnTo>
                  <a:pt x="46" y="258"/>
                </a:lnTo>
                <a:lnTo>
                  <a:pt x="28" y="250"/>
                </a:lnTo>
                <a:lnTo>
                  <a:pt x="19" y="226"/>
                </a:lnTo>
                <a:lnTo>
                  <a:pt x="55" y="153"/>
                </a:lnTo>
                <a:lnTo>
                  <a:pt x="64" y="137"/>
                </a:lnTo>
                <a:lnTo>
                  <a:pt x="37" y="129"/>
                </a:lnTo>
                <a:lnTo>
                  <a:pt x="0" y="121"/>
                </a:lnTo>
                <a:lnTo>
                  <a:pt x="19" y="89"/>
                </a:lnTo>
                <a:lnTo>
                  <a:pt x="64" y="56"/>
                </a:lnTo>
                <a:lnTo>
                  <a:pt x="101" y="48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62" name="Freeform 41"/>
          <p:cNvSpPr>
            <a:spLocks/>
          </p:cNvSpPr>
          <p:nvPr>
            <p:custDataLst>
              <p:tags r:id="rId217"/>
            </p:custDataLst>
          </p:nvPr>
        </p:nvSpPr>
        <p:spPr bwMode="gray">
          <a:xfrm>
            <a:off x="7344400" y="3645584"/>
            <a:ext cx="644798" cy="577170"/>
          </a:xfrm>
          <a:custGeom>
            <a:avLst/>
            <a:gdLst>
              <a:gd name="T0" fmla="*/ 35 w 449"/>
              <a:gd name="T1" fmla="*/ 68 h 403"/>
              <a:gd name="T2" fmla="*/ 112 w 449"/>
              <a:gd name="T3" fmla="*/ 23 h 403"/>
              <a:gd name="T4" fmla="*/ 172 w 449"/>
              <a:gd name="T5" fmla="*/ 15 h 403"/>
              <a:gd name="T6" fmla="*/ 199 w 449"/>
              <a:gd name="T7" fmla="*/ 15 h 403"/>
              <a:gd name="T8" fmla="*/ 224 w 449"/>
              <a:gd name="T9" fmla="*/ 60 h 403"/>
              <a:gd name="T10" fmla="*/ 234 w 449"/>
              <a:gd name="T11" fmla="*/ 114 h 403"/>
              <a:gd name="T12" fmla="*/ 294 w 449"/>
              <a:gd name="T13" fmla="*/ 159 h 403"/>
              <a:gd name="T14" fmla="*/ 363 w 449"/>
              <a:gd name="T15" fmla="*/ 166 h 403"/>
              <a:gd name="T16" fmla="*/ 398 w 449"/>
              <a:gd name="T17" fmla="*/ 213 h 403"/>
              <a:gd name="T18" fmla="*/ 415 w 449"/>
              <a:gd name="T19" fmla="*/ 243 h 403"/>
              <a:gd name="T20" fmla="*/ 406 w 449"/>
              <a:gd name="T21" fmla="*/ 250 h 403"/>
              <a:gd name="T22" fmla="*/ 406 w 449"/>
              <a:gd name="T23" fmla="*/ 258 h 403"/>
              <a:gd name="T24" fmla="*/ 398 w 449"/>
              <a:gd name="T25" fmla="*/ 280 h 403"/>
              <a:gd name="T26" fmla="*/ 398 w 449"/>
              <a:gd name="T27" fmla="*/ 280 h 403"/>
              <a:gd name="T28" fmla="*/ 388 w 449"/>
              <a:gd name="T29" fmla="*/ 295 h 403"/>
              <a:gd name="T30" fmla="*/ 380 w 449"/>
              <a:gd name="T31" fmla="*/ 288 h 403"/>
              <a:gd name="T32" fmla="*/ 371 w 449"/>
              <a:gd name="T33" fmla="*/ 280 h 403"/>
              <a:gd name="T34" fmla="*/ 371 w 449"/>
              <a:gd name="T35" fmla="*/ 288 h 403"/>
              <a:gd name="T36" fmla="*/ 363 w 449"/>
              <a:gd name="T37" fmla="*/ 295 h 403"/>
              <a:gd name="T38" fmla="*/ 354 w 449"/>
              <a:gd name="T39" fmla="*/ 295 h 403"/>
              <a:gd name="T40" fmla="*/ 346 w 449"/>
              <a:gd name="T41" fmla="*/ 304 h 403"/>
              <a:gd name="T42" fmla="*/ 336 w 449"/>
              <a:gd name="T43" fmla="*/ 304 h 403"/>
              <a:gd name="T44" fmla="*/ 336 w 449"/>
              <a:gd name="T45" fmla="*/ 319 h 403"/>
              <a:gd name="T46" fmla="*/ 328 w 449"/>
              <a:gd name="T47" fmla="*/ 326 h 403"/>
              <a:gd name="T48" fmla="*/ 328 w 449"/>
              <a:gd name="T49" fmla="*/ 326 h 403"/>
              <a:gd name="T50" fmla="*/ 319 w 449"/>
              <a:gd name="T51" fmla="*/ 326 h 403"/>
              <a:gd name="T52" fmla="*/ 328 w 449"/>
              <a:gd name="T53" fmla="*/ 341 h 403"/>
              <a:gd name="T54" fmla="*/ 311 w 449"/>
              <a:gd name="T55" fmla="*/ 341 h 403"/>
              <a:gd name="T56" fmla="*/ 302 w 449"/>
              <a:gd name="T57" fmla="*/ 349 h 403"/>
              <a:gd name="T58" fmla="*/ 302 w 449"/>
              <a:gd name="T59" fmla="*/ 349 h 403"/>
              <a:gd name="T60" fmla="*/ 285 w 449"/>
              <a:gd name="T61" fmla="*/ 349 h 403"/>
              <a:gd name="T62" fmla="*/ 224 w 449"/>
              <a:gd name="T63" fmla="*/ 356 h 403"/>
              <a:gd name="T64" fmla="*/ 147 w 449"/>
              <a:gd name="T65" fmla="*/ 364 h 403"/>
              <a:gd name="T66" fmla="*/ 147 w 449"/>
              <a:gd name="T67" fmla="*/ 311 h 403"/>
              <a:gd name="T68" fmla="*/ 138 w 449"/>
              <a:gd name="T69" fmla="*/ 280 h 403"/>
              <a:gd name="T70" fmla="*/ 95 w 449"/>
              <a:gd name="T71" fmla="*/ 258 h 403"/>
              <a:gd name="T72" fmla="*/ 69 w 449"/>
              <a:gd name="T73" fmla="*/ 228 h 403"/>
              <a:gd name="T74" fmla="*/ 26 w 449"/>
              <a:gd name="T75" fmla="*/ 280 h 403"/>
              <a:gd name="T76" fmla="*/ 8 w 449"/>
              <a:gd name="T77" fmla="*/ 258 h 403"/>
              <a:gd name="T78" fmla="*/ 35 w 449"/>
              <a:gd name="T79" fmla="*/ 220 h 403"/>
              <a:gd name="T80" fmla="*/ 35 w 449"/>
              <a:gd name="T81" fmla="*/ 159 h 403"/>
              <a:gd name="T82" fmla="*/ 0 w 449"/>
              <a:gd name="T83" fmla="*/ 144 h 403"/>
              <a:gd name="T84" fmla="*/ 0 w 449"/>
              <a:gd name="T85" fmla="*/ 106 h 40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49" h="403">
                <a:moveTo>
                  <a:pt x="0" y="96"/>
                </a:moveTo>
                <a:lnTo>
                  <a:pt x="37" y="72"/>
                </a:lnTo>
                <a:lnTo>
                  <a:pt x="64" y="40"/>
                </a:lnTo>
                <a:lnTo>
                  <a:pt x="119" y="24"/>
                </a:lnTo>
                <a:lnTo>
                  <a:pt x="156" y="16"/>
                </a:lnTo>
                <a:lnTo>
                  <a:pt x="183" y="16"/>
                </a:lnTo>
                <a:lnTo>
                  <a:pt x="211" y="0"/>
                </a:lnTo>
                <a:lnTo>
                  <a:pt x="211" y="16"/>
                </a:lnTo>
                <a:lnTo>
                  <a:pt x="229" y="40"/>
                </a:lnTo>
                <a:lnTo>
                  <a:pt x="238" y="64"/>
                </a:lnTo>
                <a:lnTo>
                  <a:pt x="248" y="88"/>
                </a:lnTo>
                <a:lnTo>
                  <a:pt x="248" y="121"/>
                </a:lnTo>
                <a:lnTo>
                  <a:pt x="303" y="145"/>
                </a:lnTo>
                <a:lnTo>
                  <a:pt x="312" y="169"/>
                </a:lnTo>
                <a:lnTo>
                  <a:pt x="357" y="177"/>
                </a:lnTo>
                <a:lnTo>
                  <a:pt x="385" y="177"/>
                </a:lnTo>
                <a:lnTo>
                  <a:pt x="412" y="193"/>
                </a:lnTo>
                <a:lnTo>
                  <a:pt x="422" y="226"/>
                </a:lnTo>
                <a:lnTo>
                  <a:pt x="449" y="258"/>
                </a:lnTo>
                <a:lnTo>
                  <a:pt x="440" y="258"/>
                </a:lnTo>
                <a:lnTo>
                  <a:pt x="440" y="266"/>
                </a:lnTo>
                <a:lnTo>
                  <a:pt x="431" y="266"/>
                </a:lnTo>
                <a:lnTo>
                  <a:pt x="431" y="274"/>
                </a:lnTo>
                <a:lnTo>
                  <a:pt x="431" y="282"/>
                </a:lnTo>
                <a:lnTo>
                  <a:pt x="422" y="298"/>
                </a:lnTo>
                <a:lnTo>
                  <a:pt x="422" y="306"/>
                </a:lnTo>
                <a:lnTo>
                  <a:pt x="412" y="314"/>
                </a:lnTo>
                <a:lnTo>
                  <a:pt x="403" y="314"/>
                </a:lnTo>
                <a:lnTo>
                  <a:pt x="403" y="306"/>
                </a:lnTo>
                <a:lnTo>
                  <a:pt x="403" y="298"/>
                </a:lnTo>
                <a:lnTo>
                  <a:pt x="394" y="298"/>
                </a:lnTo>
                <a:lnTo>
                  <a:pt x="394" y="306"/>
                </a:lnTo>
                <a:lnTo>
                  <a:pt x="394" y="314"/>
                </a:lnTo>
                <a:lnTo>
                  <a:pt x="385" y="314"/>
                </a:lnTo>
                <a:lnTo>
                  <a:pt x="376" y="314"/>
                </a:lnTo>
                <a:lnTo>
                  <a:pt x="376" y="323"/>
                </a:lnTo>
                <a:lnTo>
                  <a:pt x="367" y="323"/>
                </a:lnTo>
                <a:lnTo>
                  <a:pt x="357" y="323"/>
                </a:lnTo>
                <a:lnTo>
                  <a:pt x="357" y="331"/>
                </a:lnTo>
                <a:lnTo>
                  <a:pt x="357" y="339"/>
                </a:lnTo>
                <a:lnTo>
                  <a:pt x="357" y="347"/>
                </a:lnTo>
                <a:lnTo>
                  <a:pt x="348" y="347"/>
                </a:lnTo>
                <a:lnTo>
                  <a:pt x="348" y="339"/>
                </a:lnTo>
                <a:lnTo>
                  <a:pt x="348" y="347"/>
                </a:lnTo>
                <a:lnTo>
                  <a:pt x="339" y="347"/>
                </a:lnTo>
                <a:lnTo>
                  <a:pt x="339" y="355"/>
                </a:lnTo>
                <a:lnTo>
                  <a:pt x="348" y="363"/>
                </a:lnTo>
                <a:lnTo>
                  <a:pt x="339" y="363"/>
                </a:lnTo>
                <a:lnTo>
                  <a:pt x="330" y="363"/>
                </a:lnTo>
                <a:lnTo>
                  <a:pt x="321" y="363"/>
                </a:lnTo>
                <a:lnTo>
                  <a:pt x="321" y="371"/>
                </a:lnTo>
                <a:lnTo>
                  <a:pt x="312" y="371"/>
                </a:lnTo>
                <a:lnTo>
                  <a:pt x="303" y="371"/>
                </a:lnTo>
                <a:lnTo>
                  <a:pt x="275" y="371"/>
                </a:lnTo>
                <a:lnTo>
                  <a:pt x="238" y="379"/>
                </a:lnTo>
                <a:lnTo>
                  <a:pt x="156" y="403"/>
                </a:lnTo>
                <a:lnTo>
                  <a:pt x="156" y="387"/>
                </a:lnTo>
                <a:lnTo>
                  <a:pt x="156" y="363"/>
                </a:lnTo>
                <a:lnTo>
                  <a:pt x="156" y="331"/>
                </a:lnTo>
                <a:lnTo>
                  <a:pt x="174" y="314"/>
                </a:lnTo>
                <a:lnTo>
                  <a:pt x="147" y="298"/>
                </a:lnTo>
                <a:lnTo>
                  <a:pt x="101" y="298"/>
                </a:lnTo>
                <a:lnTo>
                  <a:pt x="101" y="274"/>
                </a:lnTo>
                <a:lnTo>
                  <a:pt x="92" y="242"/>
                </a:lnTo>
                <a:lnTo>
                  <a:pt x="73" y="242"/>
                </a:lnTo>
                <a:lnTo>
                  <a:pt x="46" y="298"/>
                </a:lnTo>
                <a:lnTo>
                  <a:pt x="28" y="298"/>
                </a:lnTo>
                <a:lnTo>
                  <a:pt x="0" y="290"/>
                </a:lnTo>
                <a:lnTo>
                  <a:pt x="9" y="274"/>
                </a:lnTo>
                <a:lnTo>
                  <a:pt x="18" y="266"/>
                </a:lnTo>
                <a:lnTo>
                  <a:pt x="37" y="234"/>
                </a:lnTo>
                <a:lnTo>
                  <a:pt x="28" y="210"/>
                </a:lnTo>
                <a:lnTo>
                  <a:pt x="37" y="169"/>
                </a:lnTo>
                <a:lnTo>
                  <a:pt x="9" y="169"/>
                </a:lnTo>
                <a:lnTo>
                  <a:pt x="0" y="153"/>
                </a:lnTo>
                <a:lnTo>
                  <a:pt x="18" y="129"/>
                </a:lnTo>
                <a:lnTo>
                  <a:pt x="0" y="113"/>
                </a:lnTo>
                <a:lnTo>
                  <a:pt x="0" y="96"/>
                </a:lnTo>
                <a:close/>
              </a:path>
            </a:pathLst>
          </a:custGeom>
          <a:solidFill>
            <a:schemeClr val="hlink"/>
          </a:solidFill>
          <a:ln w="127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63" name="Rectangle 123"/>
          <p:cNvSpPr>
            <a:spLocks noChangeArrowheads="1"/>
          </p:cNvSpPr>
          <p:nvPr>
            <p:custDataLst>
              <p:tags r:id="rId218"/>
            </p:custDataLst>
          </p:nvPr>
        </p:nvSpPr>
        <p:spPr bwMode="gray">
          <a:xfrm>
            <a:off x="7542687" y="3898195"/>
            <a:ext cx="283476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Okara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64" name="Freeform 160" descr="Wide upward diagonal"/>
          <p:cNvSpPr>
            <a:spLocks/>
          </p:cNvSpPr>
          <p:nvPr>
            <p:custDataLst>
              <p:tags r:id="rId219"/>
            </p:custDataLst>
          </p:nvPr>
        </p:nvSpPr>
        <p:spPr bwMode="gray">
          <a:xfrm>
            <a:off x="7645502" y="3517814"/>
            <a:ext cx="815177" cy="497864"/>
          </a:xfrm>
          <a:custGeom>
            <a:avLst/>
            <a:gdLst>
              <a:gd name="T0" fmla="*/ 43 w 568"/>
              <a:gd name="T1" fmla="*/ 68 h 347"/>
              <a:gd name="T2" fmla="*/ 138 w 568"/>
              <a:gd name="T3" fmla="*/ 30 h 347"/>
              <a:gd name="T4" fmla="*/ 259 w 568"/>
              <a:gd name="T5" fmla="*/ 30 h 347"/>
              <a:gd name="T6" fmla="*/ 311 w 568"/>
              <a:gd name="T7" fmla="*/ 53 h 347"/>
              <a:gd name="T8" fmla="*/ 388 w 568"/>
              <a:gd name="T9" fmla="*/ 30 h 347"/>
              <a:gd name="T10" fmla="*/ 440 w 568"/>
              <a:gd name="T11" fmla="*/ 8 h 347"/>
              <a:gd name="T12" fmla="*/ 440 w 568"/>
              <a:gd name="T13" fmla="*/ 15 h 347"/>
              <a:gd name="T14" fmla="*/ 440 w 568"/>
              <a:gd name="T15" fmla="*/ 23 h 347"/>
              <a:gd name="T16" fmla="*/ 431 w 568"/>
              <a:gd name="T17" fmla="*/ 30 h 347"/>
              <a:gd name="T18" fmla="*/ 440 w 568"/>
              <a:gd name="T19" fmla="*/ 45 h 347"/>
              <a:gd name="T20" fmla="*/ 431 w 568"/>
              <a:gd name="T21" fmla="*/ 53 h 347"/>
              <a:gd name="T22" fmla="*/ 431 w 568"/>
              <a:gd name="T23" fmla="*/ 68 h 347"/>
              <a:gd name="T24" fmla="*/ 431 w 568"/>
              <a:gd name="T25" fmla="*/ 84 h 347"/>
              <a:gd name="T26" fmla="*/ 431 w 568"/>
              <a:gd name="T27" fmla="*/ 91 h 347"/>
              <a:gd name="T28" fmla="*/ 448 w 568"/>
              <a:gd name="T29" fmla="*/ 106 h 347"/>
              <a:gd name="T30" fmla="*/ 458 w 568"/>
              <a:gd name="T31" fmla="*/ 122 h 347"/>
              <a:gd name="T32" fmla="*/ 458 w 568"/>
              <a:gd name="T33" fmla="*/ 122 h 347"/>
              <a:gd name="T34" fmla="*/ 475 w 568"/>
              <a:gd name="T35" fmla="*/ 114 h 347"/>
              <a:gd name="T36" fmla="*/ 475 w 568"/>
              <a:gd name="T37" fmla="*/ 106 h 347"/>
              <a:gd name="T38" fmla="*/ 475 w 568"/>
              <a:gd name="T39" fmla="*/ 99 h 347"/>
              <a:gd name="T40" fmla="*/ 475 w 568"/>
              <a:gd name="T41" fmla="*/ 91 h 347"/>
              <a:gd name="T42" fmla="*/ 483 w 568"/>
              <a:gd name="T43" fmla="*/ 99 h 347"/>
              <a:gd name="T44" fmla="*/ 500 w 568"/>
              <a:gd name="T45" fmla="*/ 91 h 347"/>
              <a:gd name="T46" fmla="*/ 510 w 568"/>
              <a:gd name="T47" fmla="*/ 99 h 347"/>
              <a:gd name="T48" fmla="*/ 518 w 568"/>
              <a:gd name="T49" fmla="*/ 99 h 347"/>
              <a:gd name="T50" fmla="*/ 535 w 568"/>
              <a:gd name="T51" fmla="*/ 106 h 347"/>
              <a:gd name="T52" fmla="*/ 527 w 568"/>
              <a:gd name="T53" fmla="*/ 122 h 347"/>
              <a:gd name="T54" fmla="*/ 518 w 568"/>
              <a:gd name="T55" fmla="*/ 122 h 347"/>
              <a:gd name="T56" fmla="*/ 500 w 568"/>
              <a:gd name="T57" fmla="*/ 137 h 347"/>
              <a:gd name="T58" fmla="*/ 483 w 568"/>
              <a:gd name="T59" fmla="*/ 144 h 347"/>
              <a:gd name="T60" fmla="*/ 475 w 568"/>
              <a:gd name="T61" fmla="*/ 144 h 347"/>
              <a:gd name="T62" fmla="*/ 466 w 568"/>
              <a:gd name="T63" fmla="*/ 129 h 347"/>
              <a:gd name="T64" fmla="*/ 458 w 568"/>
              <a:gd name="T65" fmla="*/ 122 h 347"/>
              <a:gd name="T66" fmla="*/ 440 w 568"/>
              <a:gd name="T67" fmla="*/ 129 h 347"/>
              <a:gd name="T68" fmla="*/ 440 w 568"/>
              <a:gd name="T69" fmla="*/ 144 h 347"/>
              <a:gd name="T70" fmla="*/ 431 w 568"/>
              <a:gd name="T71" fmla="*/ 159 h 347"/>
              <a:gd name="T72" fmla="*/ 414 w 568"/>
              <a:gd name="T73" fmla="*/ 167 h 347"/>
              <a:gd name="T74" fmla="*/ 406 w 568"/>
              <a:gd name="T75" fmla="*/ 174 h 347"/>
              <a:gd name="T76" fmla="*/ 397 w 568"/>
              <a:gd name="T77" fmla="*/ 167 h 347"/>
              <a:gd name="T78" fmla="*/ 388 w 568"/>
              <a:gd name="T79" fmla="*/ 174 h 347"/>
              <a:gd name="T80" fmla="*/ 380 w 568"/>
              <a:gd name="T81" fmla="*/ 190 h 347"/>
              <a:gd name="T82" fmla="*/ 380 w 568"/>
              <a:gd name="T83" fmla="*/ 190 h 347"/>
              <a:gd name="T84" fmla="*/ 363 w 568"/>
              <a:gd name="T85" fmla="*/ 198 h 347"/>
              <a:gd name="T86" fmla="*/ 354 w 568"/>
              <a:gd name="T87" fmla="*/ 213 h 347"/>
              <a:gd name="T88" fmla="*/ 354 w 568"/>
              <a:gd name="T89" fmla="*/ 213 h 347"/>
              <a:gd name="T90" fmla="*/ 354 w 568"/>
              <a:gd name="T91" fmla="*/ 221 h 347"/>
              <a:gd name="T92" fmla="*/ 345 w 568"/>
              <a:gd name="T93" fmla="*/ 221 h 347"/>
              <a:gd name="T94" fmla="*/ 336 w 568"/>
              <a:gd name="T95" fmla="*/ 228 h 347"/>
              <a:gd name="T96" fmla="*/ 328 w 568"/>
              <a:gd name="T97" fmla="*/ 243 h 347"/>
              <a:gd name="T98" fmla="*/ 311 w 568"/>
              <a:gd name="T99" fmla="*/ 243 h 347"/>
              <a:gd name="T100" fmla="*/ 319 w 568"/>
              <a:gd name="T101" fmla="*/ 258 h 347"/>
              <a:gd name="T102" fmla="*/ 302 w 568"/>
              <a:gd name="T103" fmla="*/ 266 h 347"/>
              <a:gd name="T104" fmla="*/ 302 w 568"/>
              <a:gd name="T105" fmla="*/ 273 h 347"/>
              <a:gd name="T106" fmla="*/ 302 w 568"/>
              <a:gd name="T107" fmla="*/ 282 h 347"/>
              <a:gd name="T108" fmla="*/ 284 w 568"/>
              <a:gd name="T109" fmla="*/ 289 h 347"/>
              <a:gd name="T110" fmla="*/ 276 w 568"/>
              <a:gd name="T111" fmla="*/ 297 h 347"/>
              <a:gd name="T112" fmla="*/ 259 w 568"/>
              <a:gd name="T113" fmla="*/ 304 h 347"/>
              <a:gd name="T114" fmla="*/ 259 w 568"/>
              <a:gd name="T115" fmla="*/ 312 h 347"/>
              <a:gd name="T116" fmla="*/ 233 w 568"/>
              <a:gd name="T117" fmla="*/ 327 h 347"/>
              <a:gd name="T118" fmla="*/ 207 w 568"/>
              <a:gd name="T119" fmla="*/ 297 h 347"/>
              <a:gd name="T120" fmla="*/ 138 w 568"/>
              <a:gd name="T121" fmla="*/ 251 h 347"/>
              <a:gd name="T122" fmla="*/ 35 w 568"/>
              <a:gd name="T123" fmla="*/ 198 h 347"/>
              <a:gd name="T124" fmla="*/ 17 w 568"/>
              <a:gd name="T125" fmla="*/ 122 h 34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568" h="347">
                <a:moveTo>
                  <a:pt x="0" y="89"/>
                </a:moveTo>
                <a:lnTo>
                  <a:pt x="9" y="72"/>
                </a:lnTo>
                <a:lnTo>
                  <a:pt x="46" y="72"/>
                </a:lnTo>
                <a:lnTo>
                  <a:pt x="73" y="48"/>
                </a:lnTo>
                <a:lnTo>
                  <a:pt x="101" y="48"/>
                </a:lnTo>
                <a:lnTo>
                  <a:pt x="146" y="32"/>
                </a:lnTo>
                <a:lnTo>
                  <a:pt x="220" y="0"/>
                </a:lnTo>
                <a:lnTo>
                  <a:pt x="247" y="24"/>
                </a:lnTo>
                <a:lnTo>
                  <a:pt x="275" y="32"/>
                </a:lnTo>
                <a:lnTo>
                  <a:pt x="302" y="32"/>
                </a:lnTo>
                <a:lnTo>
                  <a:pt x="311" y="48"/>
                </a:lnTo>
                <a:lnTo>
                  <a:pt x="330" y="56"/>
                </a:lnTo>
                <a:lnTo>
                  <a:pt x="366" y="40"/>
                </a:lnTo>
                <a:lnTo>
                  <a:pt x="394" y="40"/>
                </a:lnTo>
                <a:lnTo>
                  <a:pt x="412" y="32"/>
                </a:lnTo>
                <a:lnTo>
                  <a:pt x="431" y="32"/>
                </a:lnTo>
                <a:lnTo>
                  <a:pt x="458" y="16"/>
                </a:lnTo>
                <a:lnTo>
                  <a:pt x="467" y="8"/>
                </a:lnTo>
                <a:lnTo>
                  <a:pt x="476" y="8"/>
                </a:lnTo>
                <a:lnTo>
                  <a:pt x="467" y="8"/>
                </a:lnTo>
                <a:lnTo>
                  <a:pt x="467" y="16"/>
                </a:lnTo>
                <a:lnTo>
                  <a:pt x="476" y="16"/>
                </a:lnTo>
                <a:lnTo>
                  <a:pt x="476" y="24"/>
                </a:lnTo>
                <a:lnTo>
                  <a:pt x="467" y="24"/>
                </a:lnTo>
                <a:lnTo>
                  <a:pt x="467" y="32"/>
                </a:lnTo>
                <a:lnTo>
                  <a:pt x="458" y="32"/>
                </a:lnTo>
                <a:lnTo>
                  <a:pt x="458" y="40"/>
                </a:lnTo>
                <a:lnTo>
                  <a:pt x="467" y="40"/>
                </a:lnTo>
                <a:lnTo>
                  <a:pt x="467" y="48"/>
                </a:lnTo>
                <a:lnTo>
                  <a:pt x="458" y="48"/>
                </a:lnTo>
                <a:lnTo>
                  <a:pt x="458" y="56"/>
                </a:lnTo>
                <a:lnTo>
                  <a:pt x="458" y="64"/>
                </a:lnTo>
                <a:lnTo>
                  <a:pt x="458" y="72"/>
                </a:lnTo>
                <a:lnTo>
                  <a:pt x="458" y="81"/>
                </a:lnTo>
                <a:lnTo>
                  <a:pt x="458" y="89"/>
                </a:lnTo>
                <a:lnTo>
                  <a:pt x="458" y="97"/>
                </a:lnTo>
                <a:lnTo>
                  <a:pt x="467" y="105"/>
                </a:lnTo>
                <a:lnTo>
                  <a:pt x="476" y="105"/>
                </a:lnTo>
                <a:lnTo>
                  <a:pt x="476" y="113"/>
                </a:lnTo>
                <a:lnTo>
                  <a:pt x="476" y="121"/>
                </a:lnTo>
                <a:lnTo>
                  <a:pt x="476" y="129"/>
                </a:lnTo>
                <a:lnTo>
                  <a:pt x="486" y="129"/>
                </a:lnTo>
                <a:lnTo>
                  <a:pt x="486" y="121"/>
                </a:lnTo>
                <a:lnTo>
                  <a:pt x="486" y="129"/>
                </a:lnTo>
                <a:lnTo>
                  <a:pt x="486" y="121"/>
                </a:lnTo>
                <a:lnTo>
                  <a:pt x="495" y="121"/>
                </a:lnTo>
                <a:lnTo>
                  <a:pt x="504" y="121"/>
                </a:lnTo>
                <a:lnTo>
                  <a:pt x="495" y="121"/>
                </a:lnTo>
                <a:lnTo>
                  <a:pt x="504" y="121"/>
                </a:lnTo>
                <a:lnTo>
                  <a:pt x="504" y="113"/>
                </a:lnTo>
                <a:lnTo>
                  <a:pt x="513" y="113"/>
                </a:lnTo>
                <a:lnTo>
                  <a:pt x="504" y="113"/>
                </a:lnTo>
                <a:lnTo>
                  <a:pt x="504" y="105"/>
                </a:lnTo>
                <a:lnTo>
                  <a:pt x="495" y="105"/>
                </a:lnTo>
                <a:lnTo>
                  <a:pt x="495" y="97"/>
                </a:lnTo>
                <a:lnTo>
                  <a:pt x="504" y="97"/>
                </a:lnTo>
                <a:lnTo>
                  <a:pt x="513" y="97"/>
                </a:lnTo>
                <a:lnTo>
                  <a:pt x="513" y="105"/>
                </a:lnTo>
                <a:lnTo>
                  <a:pt x="522" y="105"/>
                </a:lnTo>
                <a:lnTo>
                  <a:pt x="522" y="97"/>
                </a:lnTo>
                <a:lnTo>
                  <a:pt x="531" y="97"/>
                </a:lnTo>
                <a:lnTo>
                  <a:pt x="541" y="97"/>
                </a:lnTo>
                <a:lnTo>
                  <a:pt x="541" y="105"/>
                </a:lnTo>
                <a:lnTo>
                  <a:pt x="541" y="97"/>
                </a:lnTo>
                <a:lnTo>
                  <a:pt x="550" y="97"/>
                </a:lnTo>
                <a:lnTo>
                  <a:pt x="550" y="105"/>
                </a:lnTo>
                <a:lnTo>
                  <a:pt x="559" y="105"/>
                </a:lnTo>
                <a:lnTo>
                  <a:pt x="559" y="113"/>
                </a:lnTo>
                <a:lnTo>
                  <a:pt x="568" y="113"/>
                </a:lnTo>
                <a:lnTo>
                  <a:pt x="568" y="121"/>
                </a:lnTo>
                <a:lnTo>
                  <a:pt x="568" y="129"/>
                </a:lnTo>
                <a:lnTo>
                  <a:pt x="559" y="129"/>
                </a:lnTo>
                <a:lnTo>
                  <a:pt x="550" y="129"/>
                </a:lnTo>
                <a:lnTo>
                  <a:pt x="541" y="137"/>
                </a:lnTo>
                <a:lnTo>
                  <a:pt x="531" y="145"/>
                </a:lnTo>
                <a:lnTo>
                  <a:pt x="522" y="145"/>
                </a:lnTo>
                <a:lnTo>
                  <a:pt x="513" y="145"/>
                </a:lnTo>
                <a:lnTo>
                  <a:pt x="513" y="153"/>
                </a:lnTo>
                <a:lnTo>
                  <a:pt x="513" y="145"/>
                </a:lnTo>
                <a:lnTo>
                  <a:pt x="504" y="153"/>
                </a:lnTo>
                <a:lnTo>
                  <a:pt x="504" y="145"/>
                </a:lnTo>
                <a:lnTo>
                  <a:pt x="495" y="145"/>
                </a:lnTo>
                <a:lnTo>
                  <a:pt x="495" y="137"/>
                </a:lnTo>
                <a:lnTo>
                  <a:pt x="486" y="137"/>
                </a:lnTo>
                <a:lnTo>
                  <a:pt x="486" y="129"/>
                </a:lnTo>
                <a:lnTo>
                  <a:pt x="476" y="129"/>
                </a:lnTo>
                <a:lnTo>
                  <a:pt x="476" y="137"/>
                </a:lnTo>
                <a:lnTo>
                  <a:pt x="467" y="137"/>
                </a:lnTo>
                <a:lnTo>
                  <a:pt x="467" y="145"/>
                </a:lnTo>
                <a:lnTo>
                  <a:pt x="467" y="153"/>
                </a:lnTo>
                <a:lnTo>
                  <a:pt x="467" y="161"/>
                </a:lnTo>
                <a:lnTo>
                  <a:pt x="467" y="169"/>
                </a:lnTo>
                <a:lnTo>
                  <a:pt x="458" y="169"/>
                </a:lnTo>
                <a:lnTo>
                  <a:pt x="449" y="169"/>
                </a:lnTo>
                <a:lnTo>
                  <a:pt x="440" y="177"/>
                </a:lnTo>
                <a:lnTo>
                  <a:pt x="440" y="185"/>
                </a:lnTo>
                <a:lnTo>
                  <a:pt x="431" y="185"/>
                </a:lnTo>
                <a:lnTo>
                  <a:pt x="421" y="185"/>
                </a:lnTo>
                <a:lnTo>
                  <a:pt x="421" y="177"/>
                </a:lnTo>
                <a:lnTo>
                  <a:pt x="412" y="177"/>
                </a:lnTo>
                <a:lnTo>
                  <a:pt x="412" y="185"/>
                </a:lnTo>
                <a:lnTo>
                  <a:pt x="412" y="194"/>
                </a:lnTo>
                <a:lnTo>
                  <a:pt x="403" y="194"/>
                </a:lnTo>
                <a:lnTo>
                  <a:pt x="403" y="202"/>
                </a:lnTo>
                <a:lnTo>
                  <a:pt x="412" y="202"/>
                </a:lnTo>
                <a:lnTo>
                  <a:pt x="403" y="202"/>
                </a:lnTo>
                <a:lnTo>
                  <a:pt x="403" y="210"/>
                </a:lnTo>
                <a:lnTo>
                  <a:pt x="394" y="210"/>
                </a:lnTo>
                <a:lnTo>
                  <a:pt x="385" y="210"/>
                </a:lnTo>
                <a:lnTo>
                  <a:pt x="385" y="218"/>
                </a:lnTo>
                <a:lnTo>
                  <a:pt x="376" y="218"/>
                </a:lnTo>
                <a:lnTo>
                  <a:pt x="376" y="226"/>
                </a:lnTo>
                <a:lnTo>
                  <a:pt x="366" y="226"/>
                </a:lnTo>
                <a:lnTo>
                  <a:pt x="376" y="226"/>
                </a:lnTo>
                <a:lnTo>
                  <a:pt x="385" y="226"/>
                </a:lnTo>
                <a:lnTo>
                  <a:pt x="385" y="234"/>
                </a:lnTo>
                <a:lnTo>
                  <a:pt x="376" y="234"/>
                </a:lnTo>
                <a:lnTo>
                  <a:pt x="376" y="242"/>
                </a:lnTo>
                <a:lnTo>
                  <a:pt x="366" y="242"/>
                </a:lnTo>
                <a:lnTo>
                  <a:pt x="366" y="234"/>
                </a:lnTo>
                <a:lnTo>
                  <a:pt x="357" y="234"/>
                </a:lnTo>
                <a:lnTo>
                  <a:pt x="357" y="242"/>
                </a:lnTo>
                <a:lnTo>
                  <a:pt x="357" y="250"/>
                </a:lnTo>
                <a:lnTo>
                  <a:pt x="357" y="258"/>
                </a:lnTo>
                <a:lnTo>
                  <a:pt x="348" y="258"/>
                </a:lnTo>
                <a:lnTo>
                  <a:pt x="339" y="258"/>
                </a:lnTo>
                <a:lnTo>
                  <a:pt x="330" y="258"/>
                </a:lnTo>
                <a:lnTo>
                  <a:pt x="330" y="266"/>
                </a:lnTo>
                <a:lnTo>
                  <a:pt x="339" y="266"/>
                </a:lnTo>
                <a:lnTo>
                  <a:pt x="339" y="274"/>
                </a:lnTo>
                <a:lnTo>
                  <a:pt x="330" y="274"/>
                </a:lnTo>
                <a:lnTo>
                  <a:pt x="321" y="282"/>
                </a:lnTo>
                <a:lnTo>
                  <a:pt x="311" y="282"/>
                </a:lnTo>
                <a:lnTo>
                  <a:pt x="321" y="282"/>
                </a:lnTo>
                <a:lnTo>
                  <a:pt x="321" y="290"/>
                </a:lnTo>
                <a:lnTo>
                  <a:pt x="330" y="290"/>
                </a:lnTo>
                <a:lnTo>
                  <a:pt x="330" y="299"/>
                </a:lnTo>
                <a:lnTo>
                  <a:pt x="321" y="299"/>
                </a:lnTo>
                <a:lnTo>
                  <a:pt x="311" y="299"/>
                </a:lnTo>
                <a:lnTo>
                  <a:pt x="311" y="307"/>
                </a:lnTo>
                <a:lnTo>
                  <a:pt x="302" y="307"/>
                </a:lnTo>
                <a:lnTo>
                  <a:pt x="293" y="307"/>
                </a:lnTo>
                <a:lnTo>
                  <a:pt x="293" y="315"/>
                </a:lnTo>
                <a:lnTo>
                  <a:pt x="284" y="315"/>
                </a:lnTo>
                <a:lnTo>
                  <a:pt x="284" y="323"/>
                </a:lnTo>
                <a:lnTo>
                  <a:pt x="275" y="323"/>
                </a:lnTo>
                <a:lnTo>
                  <a:pt x="275" y="331"/>
                </a:lnTo>
                <a:lnTo>
                  <a:pt x="266" y="331"/>
                </a:lnTo>
                <a:lnTo>
                  <a:pt x="256" y="339"/>
                </a:lnTo>
                <a:lnTo>
                  <a:pt x="247" y="347"/>
                </a:lnTo>
                <a:lnTo>
                  <a:pt x="238" y="347"/>
                </a:lnTo>
                <a:lnTo>
                  <a:pt x="220" y="315"/>
                </a:lnTo>
                <a:lnTo>
                  <a:pt x="201" y="282"/>
                </a:lnTo>
                <a:lnTo>
                  <a:pt x="174" y="266"/>
                </a:lnTo>
                <a:lnTo>
                  <a:pt x="146" y="266"/>
                </a:lnTo>
                <a:lnTo>
                  <a:pt x="101" y="258"/>
                </a:lnTo>
                <a:lnTo>
                  <a:pt x="92" y="226"/>
                </a:lnTo>
                <a:lnTo>
                  <a:pt x="37" y="210"/>
                </a:lnTo>
                <a:lnTo>
                  <a:pt x="37" y="177"/>
                </a:lnTo>
                <a:lnTo>
                  <a:pt x="27" y="153"/>
                </a:lnTo>
                <a:lnTo>
                  <a:pt x="18" y="129"/>
                </a:lnTo>
                <a:lnTo>
                  <a:pt x="0" y="105"/>
                </a:lnTo>
                <a:lnTo>
                  <a:pt x="0" y="89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65" name="Rectangle 188"/>
          <p:cNvSpPr>
            <a:spLocks noChangeArrowheads="1"/>
          </p:cNvSpPr>
          <p:nvPr>
            <p:custDataLst>
              <p:tags r:id="rId220"/>
            </p:custDataLst>
          </p:nvPr>
        </p:nvSpPr>
        <p:spPr bwMode="gray">
          <a:xfrm>
            <a:off x="7870103" y="3677893"/>
            <a:ext cx="271726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Kasur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66" name="Freeform 80" descr="Wide upward diagonal"/>
          <p:cNvSpPr>
            <a:spLocks/>
          </p:cNvSpPr>
          <p:nvPr>
            <p:custDataLst>
              <p:tags r:id="rId221"/>
            </p:custDataLst>
          </p:nvPr>
        </p:nvSpPr>
        <p:spPr bwMode="gray">
          <a:xfrm>
            <a:off x="8422491" y="2717413"/>
            <a:ext cx="578702" cy="383312"/>
          </a:xfrm>
          <a:custGeom>
            <a:avLst/>
            <a:gdLst>
              <a:gd name="T0" fmla="*/ 181 w 403"/>
              <a:gd name="T1" fmla="*/ 15 h 266"/>
              <a:gd name="T2" fmla="*/ 198 w 403"/>
              <a:gd name="T3" fmla="*/ 8 h 266"/>
              <a:gd name="T4" fmla="*/ 207 w 403"/>
              <a:gd name="T5" fmla="*/ 0 h 266"/>
              <a:gd name="T6" fmla="*/ 224 w 403"/>
              <a:gd name="T7" fmla="*/ 0 h 266"/>
              <a:gd name="T8" fmla="*/ 241 w 403"/>
              <a:gd name="T9" fmla="*/ 8 h 266"/>
              <a:gd name="T10" fmla="*/ 250 w 403"/>
              <a:gd name="T11" fmla="*/ 15 h 266"/>
              <a:gd name="T12" fmla="*/ 259 w 403"/>
              <a:gd name="T13" fmla="*/ 23 h 266"/>
              <a:gd name="T14" fmla="*/ 276 w 403"/>
              <a:gd name="T15" fmla="*/ 30 h 266"/>
              <a:gd name="T16" fmla="*/ 285 w 403"/>
              <a:gd name="T17" fmla="*/ 38 h 266"/>
              <a:gd name="T18" fmla="*/ 302 w 403"/>
              <a:gd name="T19" fmla="*/ 30 h 266"/>
              <a:gd name="T20" fmla="*/ 311 w 403"/>
              <a:gd name="T21" fmla="*/ 38 h 266"/>
              <a:gd name="T22" fmla="*/ 328 w 403"/>
              <a:gd name="T23" fmla="*/ 45 h 266"/>
              <a:gd name="T24" fmla="*/ 337 w 403"/>
              <a:gd name="T25" fmla="*/ 53 h 266"/>
              <a:gd name="T26" fmla="*/ 354 w 403"/>
              <a:gd name="T27" fmla="*/ 60 h 266"/>
              <a:gd name="T28" fmla="*/ 354 w 403"/>
              <a:gd name="T29" fmla="*/ 68 h 266"/>
              <a:gd name="T30" fmla="*/ 354 w 403"/>
              <a:gd name="T31" fmla="*/ 76 h 266"/>
              <a:gd name="T32" fmla="*/ 354 w 403"/>
              <a:gd name="T33" fmla="*/ 92 h 266"/>
              <a:gd name="T34" fmla="*/ 363 w 403"/>
              <a:gd name="T35" fmla="*/ 92 h 266"/>
              <a:gd name="T36" fmla="*/ 380 w 403"/>
              <a:gd name="T37" fmla="*/ 99 h 266"/>
              <a:gd name="T38" fmla="*/ 380 w 403"/>
              <a:gd name="T39" fmla="*/ 114 h 266"/>
              <a:gd name="T40" fmla="*/ 363 w 403"/>
              <a:gd name="T41" fmla="*/ 122 h 266"/>
              <a:gd name="T42" fmla="*/ 345 w 403"/>
              <a:gd name="T43" fmla="*/ 122 h 266"/>
              <a:gd name="T44" fmla="*/ 345 w 403"/>
              <a:gd name="T45" fmla="*/ 137 h 266"/>
              <a:gd name="T46" fmla="*/ 345 w 403"/>
              <a:gd name="T47" fmla="*/ 137 h 266"/>
              <a:gd name="T48" fmla="*/ 337 w 403"/>
              <a:gd name="T49" fmla="*/ 152 h 266"/>
              <a:gd name="T50" fmla="*/ 328 w 403"/>
              <a:gd name="T51" fmla="*/ 159 h 266"/>
              <a:gd name="T52" fmla="*/ 328 w 403"/>
              <a:gd name="T53" fmla="*/ 159 h 266"/>
              <a:gd name="T54" fmla="*/ 320 w 403"/>
              <a:gd name="T55" fmla="*/ 175 h 266"/>
              <a:gd name="T56" fmla="*/ 302 w 403"/>
              <a:gd name="T57" fmla="*/ 183 h 266"/>
              <a:gd name="T58" fmla="*/ 302 w 403"/>
              <a:gd name="T59" fmla="*/ 175 h 266"/>
              <a:gd name="T60" fmla="*/ 302 w 403"/>
              <a:gd name="T61" fmla="*/ 175 h 266"/>
              <a:gd name="T62" fmla="*/ 285 w 403"/>
              <a:gd name="T63" fmla="*/ 175 h 266"/>
              <a:gd name="T64" fmla="*/ 276 w 403"/>
              <a:gd name="T65" fmla="*/ 183 h 266"/>
              <a:gd name="T66" fmla="*/ 276 w 403"/>
              <a:gd name="T67" fmla="*/ 183 h 266"/>
              <a:gd name="T68" fmla="*/ 250 w 403"/>
              <a:gd name="T69" fmla="*/ 183 h 266"/>
              <a:gd name="T70" fmla="*/ 241 w 403"/>
              <a:gd name="T71" fmla="*/ 191 h 266"/>
              <a:gd name="T72" fmla="*/ 224 w 403"/>
              <a:gd name="T73" fmla="*/ 191 h 266"/>
              <a:gd name="T74" fmla="*/ 216 w 403"/>
              <a:gd name="T75" fmla="*/ 198 h 266"/>
              <a:gd name="T76" fmla="*/ 207 w 403"/>
              <a:gd name="T77" fmla="*/ 206 h 266"/>
              <a:gd name="T78" fmla="*/ 198 w 403"/>
              <a:gd name="T79" fmla="*/ 206 h 266"/>
              <a:gd name="T80" fmla="*/ 181 w 403"/>
              <a:gd name="T81" fmla="*/ 206 h 266"/>
              <a:gd name="T82" fmla="*/ 164 w 403"/>
              <a:gd name="T83" fmla="*/ 191 h 266"/>
              <a:gd name="T84" fmla="*/ 146 w 403"/>
              <a:gd name="T85" fmla="*/ 191 h 266"/>
              <a:gd name="T86" fmla="*/ 129 w 403"/>
              <a:gd name="T87" fmla="*/ 198 h 266"/>
              <a:gd name="T88" fmla="*/ 129 w 403"/>
              <a:gd name="T89" fmla="*/ 206 h 266"/>
              <a:gd name="T90" fmla="*/ 112 w 403"/>
              <a:gd name="T91" fmla="*/ 213 h 266"/>
              <a:gd name="T92" fmla="*/ 104 w 403"/>
              <a:gd name="T93" fmla="*/ 228 h 266"/>
              <a:gd name="T94" fmla="*/ 94 w 403"/>
              <a:gd name="T95" fmla="*/ 236 h 266"/>
              <a:gd name="T96" fmla="*/ 77 w 403"/>
              <a:gd name="T97" fmla="*/ 243 h 266"/>
              <a:gd name="T98" fmla="*/ 60 w 403"/>
              <a:gd name="T99" fmla="*/ 251 h 266"/>
              <a:gd name="T100" fmla="*/ 52 w 403"/>
              <a:gd name="T101" fmla="*/ 243 h 266"/>
              <a:gd name="T102" fmla="*/ 25 w 403"/>
              <a:gd name="T103" fmla="*/ 213 h 266"/>
              <a:gd name="T104" fmla="*/ 0 w 403"/>
              <a:gd name="T105" fmla="*/ 183 h 266"/>
              <a:gd name="T106" fmla="*/ 69 w 403"/>
              <a:gd name="T107" fmla="*/ 129 h 266"/>
              <a:gd name="T108" fmla="*/ 164 w 403"/>
              <a:gd name="T109" fmla="*/ 38 h 26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03" h="266">
                <a:moveTo>
                  <a:pt x="174" y="16"/>
                </a:moveTo>
                <a:lnTo>
                  <a:pt x="183" y="16"/>
                </a:lnTo>
                <a:lnTo>
                  <a:pt x="192" y="16"/>
                </a:lnTo>
                <a:lnTo>
                  <a:pt x="201" y="8"/>
                </a:lnTo>
                <a:lnTo>
                  <a:pt x="210" y="8"/>
                </a:lnTo>
                <a:lnTo>
                  <a:pt x="210" y="0"/>
                </a:lnTo>
                <a:lnTo>
                  <a:pt x="220" y="0"/>
                </a:lnTo>
                <a:lnTo>
                  <a:pt x="229" y="0"/>
                </a:lnTo>
                <a:lnTo>
                  <a:pt x="238" y="0"/>
                </a:lnTo>
                <a:lnTo>
                  <a:pt x="238" y="8"/>
                </a:lnTo>
                <a:lnTo>
                  <a:pt x="247" y="8"/>
                </a:lnTo>
                <a:lnTo>
                  <a:pt x="256" y="8"/>
                </a:lnTo>
                <a:lnTo>
                  <a:pt x="256" y="16"/>
                </a:lnTo>
                <a:lnTo>
                  <a:pt x="265" y="16"/>
                </a:lnTo>
                <a:lnTo>
                  <a:pt x="265" y="24"/>
                </a:lnTo>
                <a:lnTo>
                  <a:pt x="275" y="24"/>
                </a:lnTo>
                <a:lnTo>
                  <a:pt x="275" y="32"/>
                </a:lnTo>
                <a:lnTo>
                  <a:pt x="284" y="32"/>
                </a:lnTo>
                <a:lnTo>
                  <a:pt x="293" y="32"/>
                </a:lnTo>
                <a:lnTo>
                  <a:pt x="293" y="40"/>
                </a:lnTo>
                <a:lnTo>
                  <a:pt x="302" y="40"/>
                </a:lnTo>
                <a:lnTo>
                  <a:pt x="302" y="32"/>
                </a:lnTo>
                <a:lnTo>
                  <a:pt x="311" y="32"/>
                </a:lnTo>
                <a:lnTo>
                  <a:pt x="320" y="32"/>
                </a:lnTo>
                <a:lnTo>
                  <a:pt x="320" y="40"/>
                </a:lnTo>
                <a:lnTo>
                  <a:pt x="330" y="40"/>
                </a:lnTo>
                <a:lnTo>
                  <a:pt x="339" y="40"/>
                </a:lnTo>
                <a:lnTo>
                  <a:pt x="348" y="48"/>
                </a:lnTo>
                <a:lnTo>
                  <a:pt x="348" y="56"/>
                </a:lnTo>
                <a:lnTo>
                  <a:pt x="357" y="56"/>
                </a:lnTo>
                <a:lnTo>
                  <a:pt x="366" y="56"/>
                </a:lnTo>
                <a:lnTo>
                  <a:pt x="366" y="64"/>
                </a:lnTo>
                <a:lnTo>
                  <a:pt x="375" y="64"/>
                </a:lnTo>
                <a:lnTo>
                  <a:pt x="375" y="72"/>
                </a:lnTo>
                <a:lnTo>
                  <a:pt x="375" y="64"/>
                </a:lnTo>
                <a:lnTo>
                  <a:pt x="375" y="72"/>
                </a:lnTo>
                <a:lnTo>
                  <a:pt x="375" y="81"/>
                </a:lnTo>
                <a:lnTo>
                  <a:pt x="375" y="89"/>
                </a:lnTo>
                <a:lnTo>
                  <a:pt x="375" y="97"/>
                </a:lnTo>
                <a:lnTo>
                  <a:pt x="385" y="97"/>
                </a:lnTo>
                <a:lnTo>
                  <a:pt x="394" y="97"/>
                </a:lnTo>
                <a:lnTo>
                  <a:pt x="403" y="97"/>
                </a:lnTo>
                <a:lnTo>
                  <a:pt x="403" y="105"/>
                </a:lnTo>
                <a:lnTo>
                  <a:pt x="403" y="113"/>
                </a:lnTo>
                <a:lnTo>
                  <a:pt x="403" y="121"/>
                </a:lnTo>
                <a:lnTo>
                  <a:pt x="394" y="121"/>
                </a:lnTo>
                <a:lnTo>
                  <a:pt x="394" y="129"/>
                </a:lnTo>
                <a:lnTo>
                  <a:pt x="385" y="129"/>
                </a:lnTo>
                <a:lnTo>
                  <a:pt x="375" y="129"/>
                </a:lnTo>
                <a:lnTo>
                  <a:pt x="366" y="129"/>
                </a:lnTo>
                <a:lnTo>
                  <a:pt x="375" y="137"/>
                </a:lnTo>
                <a:lnTo>
                  <a:pt x="366" y="137"/>
                </a:lnTo>
                <a:lnTo>
                  <a:pt x="366" y="145"/>
                </a:lnTo>
                <a:lnTo>
                  <a:pt x="375" y="145"/>
                </a:lnTo>
                <a:lnTo>
                  <a:pt x="366" y="145"/>
                </a:lnTo>
                <a:lnTo>
                  <a:pt x="366" y="153"/>
                </a:lnTo>
                <a:lnTo>
                  <a:pt x="357" y="153"/>
                </a:lnTo>
                <a:lnTo>
                  <a:pt x="357" y="161"/>
                </a:lnTo>
                <a:lnTo>
                  <a:pt x="348" y="161"/>
                </a:lnTo>
                <a:lnTo>
                  <a:pt x="348" y="169"/>
                </a:lnTo>
                <a:lnTo>
                  <a:pt x="348" y="177"/>
                </a:lnTo>
                <a:lnTo>
                  <a:pt x="339" y="177"/>
                </a:lnTo>
                <a:lnTo>
                  <a:pt x="339" y="185"/>
                </a:lnTo>
                <a:lnTo>
                  <a:pt x="330" y="185"/>
                </a:lnTo>
                <a:lnTo>
                  <a:pt x="320" y="185"/>
                </a:lnTo>
                <a:lnTo>
                  <a:pt x="320" y="194"/>
                </a:lnTo>
                <a:lnTo>
                  <a:pt x="320" y="185"/>
                </a:lnTo>
                <a:lnTo>
                  <a:pt x="311" y="185"/>
                </a:lnTo>
                <a:lnTo>
                  <a:pt x="320" y="185"/>
                </a:lnTo>
                <a:lnTo>
                  <a:pt x="320" y="177"/>
                </a:lnTo>
                <a:lnTo>
                  <a:pt x="311" y="177"/>
                </a:lnTo>
                <a:lnTo>
                  <a:pt x="302" y="185"/>
                </a:lnTo>
                <a:lnTo>
                  <a:pt x="302" y="194"/>
                </a:lnTo>
                <a:lnTo>
                  <a:pt x="293" y="194"/>
                </a:lnTo>
                <a:lnTo>
                  <a:pt x="293" y="202"/>
                </a:lnTo>
                <a:lnTo>
                  <a:pt x="293" y="194"/>
                </a:lnTo>
                <a:lnTo>
                  <a:pt x="284" y="194"/>
                </a:lnTo>
                <a:lnTo>
                  <a:pt x="275" y="194"/>
                </a:lnTo>
                <a:lnTo>
                  <a:pt x="265" y="194"/>
                </a:lnTo>
                <a:lnTo>
                  <a:pt x="256" y="194"/>
                </a:lnTo>
                <a:lnTo>
                  <a:pt x="256" y="202"/>
                </a:lnTo>
                <a:lnTo>
                  <a:pt x="247" y="202"/>
                </a:lnTo>
                <a:lnTo>
                  <a:pt x="247" y="194"/>
                </a:lnTo>
                <a:lnTo>
                  <a:pt x="238" y="202"/>
                </a:lnTo>
                <a:lnTo>
                  <a:pt x="229" y="202"/>
                </a:lnTo>
                <a:lnTo>
                  <a:pt x="229" y="210"/>
                </a:lnTo>
                <a:lnTo>
                  <a:pt x="220" y="210"/>
                </a:lnTo>
                <a:lnTo>
                  <a:pt x="220" y="218"/>
                </a:lnTo>
                <a:lnTo>
                  <a:pt x="220" y="210"/>
                </a:lnTo>
                <a:lnTo>
                  <a:pt x="210" y="210"/>
                </a:lnTo>
                <a:lnTo>
                  <a:pt x="210" y="218"/>
                </a:lnTo>
                <a:lnTo>
                  <a:pt x="201" y="218"/>
                </a:lnTo>
                <a:lnTo>
                  <a:pt x="192" y="218"/>
                </a:lnTo>
                <a:lnTo>
                  <a:pt x="192" y="210"/>
                </a:lnTo>
                <a:lnTo>
                  <a:pt x="183" y="210"/>
                </a:lnTo>
                <a:lnTo>
                  <a:pt x="174" y="202"/>
                </a:lnTo>
                <a:lnTo>
                  <a:pt x="165" y="202"/>
                </a:lnTo>
                <a:lnTo>
                  <a:pt x="155" y="202"/>
                </a:lnTo>
                <a:lnTo>
                  <a:pt x="155" y="210"/>
                </a:lnTo>
                <a:lnTo>
                  <a:pt x="146" y="210"/>
                </a:lnTo>
                <a:lnTo>
                  <a:pt x="137" y="210"/>
                </a:lnTo>
                <a:lnTo>
                  <a:pt x="128" y="210"/>
                </a:lnTo>
                <a:lnTo>
                  <a:pt x="137" y="218"/>
                </a:lnTo>
                <a:lnTo>
                  <a:pt x="128" y="226"/>
                </a:lnTo>
                <a:lnTo>
                  <a:pt x="119" y="226"/>
                </a:lnTo>
                <a:lnTo>
                  <a:pt x="110" y="226"/>
                </a:lnTo>
                <a:lnTo>
                  <a:pt x="110" y="234"/>
                </a:lnTo>
                <a:lnTo>
                  <a:pt x="110" y="242"/>
                </a:lnTo>
                <a:lnTo>
                  <a:pt x="110" y="250"/>
                </a:lnTo>
                <a:lnTo>
                  <a:pt x="100" y="250"/>
                </a:lnTo>
                <a:lnTo>
                  <a:pt x="91" y="250"/>
                </a:lnTo>
                <a:lnTo>
                  <a:pt x="82" y="258"/>
                </a:lnTo>
                <a:lnTo>
                  <a:pt x="73" y="258"/>
                </a:lnTo>
                <a:lnTo>
                  <a:pt x="64" y="258"/>
                </a:lnTo>
                <a:lnTo>
                  <a:pt x="64" y="266"/>
                </a:lnTo>
                <a:lnTo>
                  <a:pt x="55" y="266"/>
                </a:lnTo>
                <a:lnTo>
                  <a:pt x="55" y="258"/>
                </a:lnTo>
                <a:lnTo>
                  <a:pt x="55" y="266"/>
                </a:lnTo>
                <a:lnTo>
                  <a:pt x="45" y="250"/>
                </a:lnTo>
                <a:lnTo>
                  <a:pt x="27" y="226"/>
                </a:lnTo>
                <a:lnTo>
                  <a:pt x="9" y="226"/>
                </a:lnTo>
                <a:lnTo>
                  <a:pt x="0" y="210"/>
                </a:lnTo>
                <a:lnTo>
                  <a:pt x="0" y="194"/>
                </a:lnTo>
                <a:lnTo>
                  <a:pt x="27" y="185"/>
                </a:lnTo>
                <a:lnTo>
                  <a:pt x="45" y="169"/>
                </a:lnTo>
                <a:lnTo>
                  <a:pt x="73" y="137"/>
                </a:lnTo>
                <a:lnTo>
                  <a:pt x="137" y="97"/>
                </a:lnTo>
                <a:lnTo>
                  <a:pt x="155" y="64"/>
                </a:lnTo>
                <a:lnTo>
                  <a:pt x="174" y="40"/>
                </a:lnTo>
                <a:lnTo>
                  <a:pt x="174" y="16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67" name="Rectangle 116"/>
          <p:cNvSpPr>
            <a:spLocks noChangeArrowheads="1"/>
          </p:cNvSpPr>
          <p:nvPr>
            <p:custDataLst>
              <p:tags r:id="rId222"/>
            </p:custDataLst>
          </p:nvPr>
        </p:nvSpPr>
        <p:spPr bwMode="gray">
          <a:xfrm>
            <a:off x="8557626" y="2878964"/>
            <a:ext cx="383971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Narowal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68" name="Freeform 37" descr="Wide upward diagonal"/>
          <p:cNvSpPr>
            <a:spLocks/>
          </p:cNvSpPr>
          <p:nvPr>
            <p:custDataLst>
              <p:tags r:id="rId223"/>
            </p:custDataLst>
          </p:nvPr>
        </p:nvSpPr>
        <p:spPr bwMode="gray">
          <a:xfrm>
            <a:off x="7830578" y="2671885"/>
            <a:ext cx="603671" cy="509613"/>
          </a:xfrm>
          <a:custGeom>
            <a:avLst/>
            <a:gdLst>
              <a:gd name="T0" fmla="*/ 8 w 422"/>
              <a:gd name="T1" fmla="*/ 90 h 355"/>
              <a:gd name="T2" fmla="*/ 8 w 422"/>
              <a:gd name="T3" fmla="*/ 45 h 355"/>
              <a:gd name="T4" fmla="*/ 35 w 422"/>
              <a:gd name="T5" fmla="*/ 45 h 355"/>
              <a:gd name="T6" fmla="*/ 103 w 422"/>
              <a:gd name="T7" fmla="*/ 45 h 355"/>
              <a:gd name="T8" fmla="*/ 182 w 422"/>
              <a:gd name="T9" fmla="*/ 23 h 355"/>
              <a:gd name="T10" fmla="*/ 233 w 422"/>
              <a:gd name="T11" fmla="*/ 0 h 355"/>
              <a:gd name="T12" fmla="*/ 233 w 422"/>
              <a:gd name="T13" fmla="*/ 45 h 355"/>
              <a:gd name="T14" fmla="*/ 233 w 422"/>
              <a:gd name="T15" fmla="*/ 90 h 355"/>
              <a:gd name="T16" fmla="*/ 250 w 422"/>
              <a:gd name="T17" fmla="*/ 121 h 355"/>
              <a:gd name="T18" fmla="*/ 267 w 422"/>
              <a:gd name="T19" fmla="*/ 144 h 355"/>
              <a:gd name="T20" fmla="*/ 285 w 422"/>
              <a:gd name="T21" fmla="*/ 167 h 355"/>
              <a:gd name="T22" fmla="*/ 319 w 422"/>
              <a:gd name="T23" fmla="*/ 182 h 355"/>
              <a:gd name="T24" fmla="*/ 354 w 422"/>
              <a:gd name="T25" fmla="*/ 204 h 355"/>
              <a:gd name="T26" fmla="*/ 389 w 422"/>
              <a:gd name="T27" fmla="*/ 228 h 355"/>
              <a:gd name="T28" fmla="*/ 397 w 422"/>
              <a:gd name="T29" fmla="*/ 243 h 355"/>
              <a:gd name="T30" fmla="*/ 354 w 422"/>
              <a:gd name="T31" fmla="*/ 265 h 355"/>
              <a:gd name="T32" fmla="*/ 337 w 422"/>
              <a:gd name="T33" fmla="*/ 273 h 355"/>
              <a:gd name="T34" fmla="*/ 310 w 422"/>
              <a:gd name="T35" fmla="*/ 295 h 355"/>
              <a:gd name="T36" fmla="*/ 276 w 422"/>
              <a:gd name="T37" fmla="*/ 311 h 355"/>
              <a:gd name="T38" fmla="*/ 233 w 422"/>
              <a:gd name="T39" fmla="*/ 303 h 355"/>
              <a:gd name="T40" fmla="*/ 207 w 422"/>
              <a:gd name="T41" fmla="*/ 311 h 355"/>
              <a:gd name="T42" fmla="*/ 172 w 422"/>
              <a:gd name="T43" fmla="*/ 334 h 355"/>
              <a:gd name="T44" fmla="*/ 138 w 422"/>
              <a:gd name="T45" fmla="*/ 334 h 355"/>
              <a:gd name="T46" fmla="*/ 78 w 422"/>
              <a:gd name="T47" fmla="*/ 326 h 355"/>
              <a:gd name="T48" fmla="*/ 43 w 422"/>
              <a:gd name="T49" fmla="*/ 326 h 355"/>
              <a:gd name="T50" fmla="*/ 43 w 422"/>
              <a:gd name="T51" fmla="*/ 295 h 355"/>
              <a:gd name="T52" fmla="*/ 52 w 422"/>
              <a:gd name="T53" fmla="*/ 280 h 355"/>
              <a:gd name="T54" fmla="*/ 35 w 422"/>
              <a:gd name="T55" fmla="*/ 265 h 355"/>
              <a:gd name="T56" fmla="*/ 8 w 422"/>
              <a:gd name="T57" fmla="*/ 265 h 355"/>
              <a:gd name="T58" fmla="*/ 17 w 422"/>
              <a:gd name="T59" fmla="*/ 213 h 355"/>
              <a:gd name="T60" fmla="*/ 0 w 422"/>
              <a:gd name="T61" fmla="*/ 197 h 355"/>
              <a:gd name="T62" fmla="*/ 17 w 422"/>
              <a:gd name="T63" fmla="*/ 174 h 355"/>
              <a:gd name="T64" fmla="*/ 35 w 422"/>
              <a:gd name="T65" fmla="*/ 167 h 355"/>
              <a:gd name="T66" fmla="*/ 35 w 422"/>
              <a:gd name="T67" fmla="*/ 144 h 355"/>
              <a:gd name="T68" fmla="*/ 60 w 422"/>
              <a:gd name="T69" fmla="*/ 121 h 355"/>
              <a:gd name="T70" fmla="*/ 60 w 422"/>
              <a:gd name="T71" fmla="*/ 106 h 355"/>
              <a:gd name="T72" fmla="*/ 8 w 422"/>
              <a:gd name="T73" fmla="*/ 90 h 35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22" h="355">
                <a:moveTo>
                  <a:pt x="9" y="96"/>
                </a:moveTo>
                <a:lnTo>
                  <a:pt x="9" y="48"/>
                </a:lnTo>
                <a:lnTo>
                  <a:pt x="37" y="48"/>
                </a:lnTo>
                <a:lnTo>
                  <a:pt x="110" y="48"/>
                </a:lnTo>
                <a:lnTo>
                  <a:pt x="193" y="24"/>
                </a:lnTo>
                <a:lnTo>
                  <a:pt x="248" y="0"/>
                </a:lnTo>
                <a:lnTo>
                  <a:pt x="248" y="48"/>
                </a:lnTo>
                <a:lnTo>
                  <a:pt x="248" y="96"/>
                </a:lnTo>
                <a:lnTo>
                  <a:pt x="266" y="129"/>
                </a:lnTo>
                <a:lnTo>
                  <a:pt x="284" y="153"/>
                </a:lnTo>
                <a:lnTo>
                  <a:pt x="303" y="177"/>
                </a:lnTo>
                <a:lnTo>
                  <a:pt x="339" y="193"/>
                </a:lnTo>
                <a:lnTo>
                  <a:pt x="376" y="217"/>
                </a:lnTo>
                <a:lnTo>
                  <a:pt x="413" y="242"/>
                </a:lnTo>
                <a:lnTo>
                  <a:pt x="422" y="258"/>
                </a:lnTo>
                <a:lnTo>
                  <a:pt x="376" y="282"/>
                </a:lnTo>
                <a:lnTo>
                  <a:pt x="358" y="290"/>
                </a:lnTo>
                <a:lnTo>
                  <a:pt x="330" y="314"/>
                </a:lnTo>
                <a:lnTo>
                  <a:pt x="293" y="331"/>
                </a:lnTo>
                <a:lnTo>
                  <a:pt x="248" y="322"/>
                </a:lnTo>
                <a:lnTo>
                  <a:pt x="220" y="331"/>
                </a:lnTo>
                <a:lnTo>
                  <a:pt x="183" y="355"/>
                </a:lnTo>
                <a:lnTo>
                  <a:pt x="147" y="355"/>
                </a:lnTo>
                <a:lnTo>
                  <a:pt x="83" y="347"/>
                </a:lnTo>
                <a:lnTo>
                  <a:pt x="46" y="347"/>
                </a:lnTo>
                <a:lnTo>
                  <a:pt x="46" y="314"/>
                </a:lnTo>
                <a:lnTo>
                  <a:pt x="55" y="298"/>
                </a:lnTo>
                <a:lnTo>
                  <a:pt x="37" y="282"/>
                </a:lnTo>
                <a:lnTo>
                  <a:pt x="9" y="282"/>
                </a:lnTo>
                <a:lnTo>
                  <a:pt x="18" y="226"/>
                </a:lnTo>
                <a:lnTo>
                  <a:pt x="0" y="209"/>
                </a:lnTo>
                <a:lnTo>
                  <a:pt x="18" y="185"/>
                </a:lnTo>
                <a:lnTo>
                  <a:pt x="37" y="177"/>
                </a:lnTo>
                <a:lnTo>
                  <a:pt x="37" y="153"/>
                </a:lnTo>
                <a:lnTo>
                  <a:pt x="64" y="129"/>
                </a:lnTo>
                <a:lnTo>
                  <a:pt x="64" y="113"/>
                </a:lnTo>
                <a:lnTo>
                  <a:pt x="9" y="96"/>
                </a:lnTo>
                <a:close/>
              </a:path>
            </a:pathLst>
          </a:custGeom>
          <a:pattFill prst="wdUpDiag">
            <a:fgClr>
              <a:srgbClr val="FFFF00"/>
            </a:fgClr>
            <a:bgClr>
              <a:schemeClr val="hlink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69" name="Freeform 147"/>
          <p:cNvSpPr>
            <a:spLocks/>
          </p:cNvSpPr>
          <p:nvPr>
            <p:custDataLst>
              <p:tags r:id="rId224"/>
            </p:custDataLst>
          </p:nvPr>
        </p:nvSpPr>
        <p:spPr bwMode="gray">
          <a:xfrm>
            <a:off x="7356159" y="2809944"/>
            <a:ext cx="565483" cy="393591"/>
          </a:xfrm>
          <a:custGeom>
            <a:avLst/>
            <a:gdLst>
              <a:gd name="T0" fmla="*/ 8 w 394"/>
              <a:gd name="T1" fmla="*/ 190 h 275"/>
              <a:gd name="T2" fmla="*/ 18 w 394"/>
              <a:gd name="T3" fmla="*/ 168 h 275"/>
              <a:gd name="T4" fmla="*/ 18 w 394"/>
              <a:gd name="T5" fmla="*/ 145 h 275"/>
              <a:gd name="T6" fmla="*/ 52 w 394"/>
              <a:gd name="T7" fmla="*/ 106 h 275"/>
              <a:gd name="T8" fmla="*/ 87 w 394"/>
              <a:gd name="T9" fmla="*/ 76 h 275"/>
              <a:gd name="T10" fmla="*/ 130 w 394"/>
              <a:gd name="T11" fmla="*/ 54 h 275"/>
              <a:gd name="T12" fmla="*/ 155 w 394"/>
              <a:gd name="T13" fmla="*/ 46 h 275"/>
              <a:gd name="T14" fmla="*/ 182 w 394"/>
              <a:gd name="T15" fmla="*/ 31 h 275"/>
              <a:gd name="T16" fmla="*/ 242 w 394"/>
              <a:gd name="T17" fmla="*/ 8 h 275"/>
              <a:gd name="T18" fmla="*/ 285 w 394"/>
              <a:gd name="T19" fmla="*/ 0 h 275"/>
              <a:gd name="T20" fmla="*/ 319 w 394"/>
              <a:gd name="T21" fmla="*/ 0 h 275"/>
              <a:gd name="T22" fmla="*/ 371 w 394"/>
              <a:gd name="T23" fmla="*/ 16 h 275"/>
              <a:gd name="T24" fmla="*/ 371 w 394"/>
              <a:gd name="T25" fmla="*/ 31 h 275"/>
              <a:gd name="T26" fmla="*/ 346 w 394"/>
              <a:gd name="T27" fmla="*/ 46 h 275"/>
              <a:gd name="T28" fmla="*/ 346 w 394"/>
              <a:gd name="T29" fmla="*/ 69 h 275"/>
              <a:gd name="T30" fmla="*/ 328 w 394"/>
              <a:gd name="T31" fmla="*/ 84 h 275"/>
              <a:gd name="T32" fmla="*/ 311 w 394"/>
              <a:gd name="T33" fmla="*/ 106 h 275"/>
              <a:gd name="T34" fmla="*/ 328 w 394"/>
              <a:gd name="T35" fmla="*/ 122 h 275"/>
              <a:gd name="T36" fmla="*/ 319 w 394"/>
              <a:gd name="T37" fmla="*/ 168 h 275"/>
              <a:gd name="T38" fmla="*/ 277 w 394"/>
              <a:gd name="T39" fmla="*/ 190 h 275"/>
              <a:gd name="T40" fmla="*/ 259 w 394"/>
              <a:gd name="T41" fmla="*/ 213 h 275"/>
              <a:gd name="T42" fmla="*/ 216 w 394"/>
              <a:gd name="T43" fmla="*/ 213 h 275"/>
              <a:gd name="T44" fmla="*/ 199 w 394"/>
              <a:gd name="T45" fmla="*/ 236 h 275"/>
              <a:gd name="T46" fmla="*/ 190 w 394"/>
              <a:gd name="T47" fmla="*/ 259 h 275"/>
              <a:gd name="T48" fmla="*/ 130 w 394"/>
              <a:gd name="T49" fmla="*/ 251 h 275"/>
              <a:gd name="T50" fmla="*/ 95 w 394"/>
              <a:gd name="T51" fmla="*/ 251 h 275"/>
              <a:gd name="T52" fmla="*/ 35 w 394"/>
              <a:gd name="T53" fmla="*/ 259 h 275"/>
              <a:gd name="T54" fmla="*/ 8 w 394"/>
              <a:gd name="T55" fmla="*/ 244 h 275"/>
              <a:gd name="T56" fmla="*/ 0 w 394"/>
              <a:gd name="T57" fmla="*/ 213 h 275"/>
              <a:gd name="T58" fmla="*/ 8 w 394"/>
              <a:gd name="T59" fmla="*/ 190 h 27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394" h="275">
                <a:moveTo>
                  <a:pt x="9" y="202"/>
                </a:moveTo>
                <a:lnTo>
                  <a:pt x="19" y="178"/>
                </a:lnTo>
                <a:lnTo>
                  <a:pt x="19" y="154"/>
                </a:lnTo>
                <a:lnTo>
                  <a:pt x="55" y="113"/>
                </a:lnTo>
                <a:lnTo>
                  <a:pt x="92" y="81"/>
                </a:lnTo>
                <a:lnTo>
                  <a:pt x="138" y="57"/>
                </a:lnTo>
                <a:lnTo>
                  <a:pt x="165" y="49"/>
                </a:lnTo>
                <a:lnTo>
                  <a:pt x="193" y="33"/>
                </a:lnTo>
                <a:lnTo>
                  <a:pt x="257" y="8"/>
                </a:lnTo>
                <a:lnTo>
                  <a:pt x="303" y="0"/>
                </a:lnTo>
                <a:lnTo>
                  <a:pt x="339" y="0"/>
                </a:lnTo>
                <a:lnTo>
                  <a:pt x="394" y="17"/>
                </a:lnTo>
                <a:lnTo>
                  <a:pt x="394" y="33"/>
                </a:lnTo>
                <a:lnTo>
                  <a:pt x="367" y="49"/>
                </a:lnTo>
                <a:lnTo>
                  <a:pt x="367" y="73"/>
                </a:lnTo>
                <a:lnTo>
                  <a:pt x="348" y="89"/>
                </a:lnTo>
                <a:lnTo>
                  <a:pt x="330" y="113"/>
                </a:lnTo>
                <a:lnTo>
                  <a:pt x="348" y="130"/>
                </a:lnTo>
                <a:lnTo>
                  <a:pt x="339" y="178"/>
                </a:lnTo>
                <a:lnTo>
                  <a:pt x="294" y="202"/>
                </a:lnTo>
                <a:lnTo>
                  <a:pt x="275" y="226"/>
                </a:lnTo>
                <a:lnTo>
                  <a:pt x="229" y="226"/>
                </a:lnTo>
                <a:lnTo>
                  <a:pt x="211" y="251"/>
                </a:lnTo>
                <a:lnTo>
                  <a:pt x="202" y="275"/>
                </a:lnTo>
                <a:lnTo>
                  <a:pt x="138" y="267"/>
                </a:lnTo>
                <a:lnTo>
                  <a:pt x="101" y="267"/>
                </a:lnTo>
                <a:lnTo>
                  <a:pt x="37" y="275"/>
                </a:lnTo>
                <a:lnTo>
                  <a:pt x="9" y="259"/>
                </a:lnTo>
                <a:lnTo>
                  <a:pt x="0" y="226"/>
                </a:lnTo>
                <a:lnTo>
                  <a:pt x="9" y="202"/>
                </a:lnTo>
                <a:close/>
              </a:path>
            </a:pathLst>
          </a:custGeom>
          <a:solidFill>
            <a:schemeClr val="hlink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70" name="Freeform 166"/>
          <p:cNvSpPr>
            <a:spLocks/>
          </p:cNvSpPr>
          <p:nvPr>
            <p:custDataLst>
              <p:tags r:id="rId225"/>
            </p:custDataLst>
          </p:nvPr>
        </p:nvSpPr>
        <p:spPr bwMode="gray">
          <a:xfrm>
            <a:off x="8186017" y="2461871"/>
            <a:ext cx="486168" cy="556609"/>
          </a:xfrm>
          <a:custGeom>
            <a:avLst/>
            <a:gdLst>
              <a:gd name="T0" fmla="*/ 42 w 339"/>
              <a:gd name="T1" fmla="*/ 122 h 388"/>
              <a:gd name="T2" fmla="*/ 120 w 339"/>
              <a:gd name="T3" fmla="*/ 84 h 388"/>
              <a:gd name="T4" fmla="*/ 129 w 339"/>
              <a:gd name="T5" fmla="*/ 39 h 388"/>
              <a:gd name="T6" fmla="*/ 137 w 339"/>
              <a:gd name="T7" fmla="*/ 39 h 388"/>
              <a:gd name="T8" fmla="*/ 155 w 339"/>
              <a:gd name="T9" fmla="*/ 39 h 388"/>
              <a:gd name="T10" fmla="*/ 155 w 339"/>
              <a:gd name="T11" fmla="*/ 39 h 388"/>
              <a:gd name="T12" fmla="*/ 164 w 339"/>
              <a:gd name="T13" fmla="*/ 39 h 388"/>
              <a:gd name="T14" fmla="*/ 181 w 339"/>
              <a:gd name="T15" fmla="*/ 39 h 388"/>
              <a:gd name="T16" fmla="*/ 181 w 339"/>
              <a:gd name="T17" fmla="*/ 31 h 388"/>
              <a:gd name="T18" fmla="*/ 189 w 339"/>
              <a:gd name="T19" fmla="*/ 23 h 388"/>
              <a:gd name="T20" fmla="*/ 189 w 339"/>
              <a:gd name="T21" fmla="*/ 15 h 388"/>
              <a:gd name="T22" fmla="*/ 198 w 339"/>
              <a:gd name="T23" fmla="*/ 8 h 388"/>
              <a:gd name="T24" fmla="*/ 207 w 339"/>
              <a:gd name="T25" fmla="*/ 0 h 388"/>
              <a:gd name="T26" fmla="*/ 215 w 339"/>
              <a:gd name="T27" fmla="*/ 0 h 388"/>
              <a:gd name="T28" fmla="*/ 215 w 339"/>
              <a:gd name="T29" fmla="*/ 15 h 388"/>
              <a:gd name="T30" fmla="*/ 215 w 339"/>
              <a:gd name="T31" fmla="*/ 23 h 388"/>
              <a:gd name="T32" fmla="*/ 207 w 339"/>
              <a:gd name="T33" fmla="*/ 31 h 388"/>
              <a:gd name="T34" fmla="*/ 207 w 339"/>
              <a:gd name="T35" fmla="*/ 39 h 388"/>
              <a:gd name="T36" fmla="*/ 198 w 339"/>
              <a:gd name="T37" fmla="*/ 46 h 388"/>
              <a:gd name="T38" fmla="*/ 198 w 339"/>
              <a:gd name="T39" fmla="*/ 61 h 388"/>
              <a:gd name="T40" fmla="*/ 198 w 339"/>
              <a:gd name="T41" fmla="*/ 69 h 388"/>
              <a:gd name="T42" fmla="*/ 207 w 339"/>
              <a:gd name="T43" fmla="*/ 76 h 388"/>
              <a:gd name="T44" fmla="*/ 207 w 339"/>
              <a:gd name="T45" fmla="*/ 84 h 388"/>
              <a:gd name="T46" fmla="*/ 198 w 339"/>
              <a:gd name="T47" fmla="*/ 92 h 388"/>
              <a:gd name="T48" fmla="*/ 189 w 339"/>
              <a:gd name="T49" fmla="*/ 99 h 388"/>
              <a:gd name="T50" fmla="*/ 181 w 339"/>
              <a:gd name="T51" fmla="*/ 107 h 388"/>
              <a:gd name="T52" fmla="*/ 181 w 339"/>
              <a:gd name="T53" fmla="*/ 114 h 388"/>
              <a:gd name="T54" fmla="*/ 181 w 339"/>
              <a:gd name="T55" fmla="*/ 129 h 388"/>
              <a:gd name="T56" fmla="*/ 189 w 339"/>
              <a:gd name="T57" fmla="*/ 138 h 388"/>
              <a:gd name="T58" fmla="*/ 198 w 339"/>
              <a:gd name="T59" fmla="*/ 138 h 388"/>
              <a:gd name="T60" fmla="*/ 198 w 339"/>
              <a:gd name="T61" fmla="*/ 153 h 388"/>
              <a:gd name="T62" fmla="*/ 207 w 339"/>
              <a:gd name="T63" fmla="*/ 160 h 388"/>
              <a:gd name="T64" fmla="*/ 207 w 339"/>
              <a:gd name="T65" fmla="*/ 160 h 388"/>
              <a:gd name="T66" fmla="*/ 215 w 339"/>
              <a:gd name="T67" fmla="*/ 168 h 388"/>
              <a:gd name="T68" fmla="*/ 224 w 339"/>
              <a:gd name="T69" fmla="*/ 175 h 388"/>
              <a:gd name="T70" fmla="*/ 232 w 339"/>
              <a:gd name="T71" fmla="*/ 175 h 388"/>
              <a:gd name="T72" fmla="*/ 249 w 339"/>
              <a:gd name="T73" fmla="*/ 175 h 388"/>
              <a:gd name="T74" fmla="*/ 259 w 339"/>
              <a:gd name="T75" fmla="*/ 168 h 388"/>
              <a:gd name="T76" fmla="*/ 267 w 339"/>
              <a:gd name="T77" fmla="*/ 168 h 388"/>
              <a:gd name="T78" fmla="*/ 284 w 339"/>
              <a:gd name="T79" fmla="*/ 168 h 388"/>
              <a:gd name="T80" fmla="*/ 293 w 339"/>
              <a:gd name="T81" fmla="*/ 168 h 388"/>
              <a:gd name="T82" fmla="*/ 301 w 339"/>
              <a:gd name="T83" fmla="*/ 175 h 388"/>
              <a:gd name="T84" fmla="*/ 311 w 339"/>
              <a:gd name="T85" fmla="*/ 183 h 388"/>
              <a:gd name="T86" fmla="*/ 319 w 339"/>
              <a:gd name="T87" fmla="*/ 183 h 388"/>
              <a:gd name="T88" fmla="*/ 301 w 339"/>
              <a:gd name="T89" fmla="*/ 228 h 388"/>
              <a:gd name="T90" fmla="*/ 224 w 339"/>
              <a:gd name="T91" fmla="*/ 297 h 388"/>
              <a:gd name="T92" fmla="*/ 181 w 339"/>
              <a:gd name="T93" fmla="*/ 342 h 388"/>
              <a:gd name="T94" fmla="*/ 155 w 339"/>
              <a:gd name="T95" fmla="*/ 366 h 388"/>
              <a:gd name="T96" fmla="*/ 86 w 339"/>
              <a:gd name="T97" fmla="*/ 320 h 388"/>
              <a:gd name="T98" fmla="*/ 34 w 339"/>
              <a:gd name="T99" fmla="*/ 275 h 388"/>
              <a:gd name="T100" fmla="*/ 0 w 339"/>
              <a:gd name="T101" fmla="*/ 228 h 388"/>
              <a:gd name="T102" fmla="*/ 0 w 339"/>
              <a:gd name="T103" fmla="*/ 138 h 38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339" h="388">
                <a:moveTo>
                  <a:pt x="0" y="146"/>
                </a:moveTo>
                <a:lnTo>
                  <a:pt x="45" y="129"/>
                </a:lnTo>
                <a:lnTo>
                  <a:pt x="82" y="113"/>
                </a:lnTo>
                <a:lnTo>
                  <a:pt x="128" y="89"/>
                </a:lnTo>
                <a:lnTo>
                  <a:pt x="137" y="57"/>
                </a:lnTo>
                <a:lnTo>
                  <a:pt x="137" y="41"/>
                </a:lnTo>
                <a:lnTo>
                  <a:pt x="146" y="41"/>
                </a:lnTo>
                <a:lnTo>
                  <a:pt x="155" y="41"/>
                </a:lnTo>
                <a:lnTo>
                  <a:pt x="165" y="41"/>
                </a:lnTo>
                <a:lnTo>
                  <a:pt x="174" y="41"/>
                </a:lnTo>
                <a:lnTo>
                  <a:pt x="183" y="41"/>
                </a:lnTo>
                <a:lnTo>
                  <a:pt x="192" y="41"/>
                </a:lnTo>
                <a:lnTo>
                  <a:pt x="192" y="33"/>
                </a:lnTo>
                <a:lnTo>
                  <a:pt x="192" y="24"/>
                </a:lnTo>
                <a:lnTo>
                  <a:pt x="201" y="24"/>
                </a:lnTo>
                <a:lnTo>
                  <a:pt x="201" y="16"/>
                </a:lnTo>
                <a:lnTo>
                  <a:pt x="210" y="16"/>
                </a:lnTo>
                <a:lnTo>
                  <a:pt x="210" y="8"/>
                </a:lnTo>
                <a:lnTo>
                  <a:pt x="210" y="0"/>
                </a:lnTo>
                <a:lnTo>
                  <a:pt x="220" y="0"/>
                </a:lnTo>
                <a:lnTo>
                  <a:pt x="229" y="0"/>
                </a:lnTo>
                <a:lnTo>
                  <a:pt x="229" y="8"/>
                </a:lnTo>
                <a:lnTo>
                  <a:pt x="229" y="16"/>
                </a:lnTo>
                <a:lnTo>
                  <a:pt x="229" y="24"/>
                </a:lnTo>
                <a:lnTo>
                  <a:pt x="220" y="24"/>
                </a:lnTo>
                <a:lnTo>
                  <a:pt x="220" y="33"/>
                </a:lnTo>
                <a:lnTo>
                  <a:pt x="220" y="41"/>
                </a:lnTo>
                <a:lnTo>
                  <a:pt x="210" y="49"/>
                </a:lnTo>
                <a:lnTo>
                  <a:pt x="210" y="57"/>
                </a:lnTo>
                <a:lnTo>
                  <a:pt x="210" y="65"/>
                </a:lnTo>
                <a:lnTo>
                  <a:pt x="210" y="73"/>
                </a:lnTo>
                <a:lnTo>
                  <a:pt x="210" y="81"/>
                </a:lnTo>
                <a:lnTo>
                  <a:pt x="220" y="81"/>
                </a:lnTo>
                <a:lnTo>
                  <a:pt x="220" y="89"/>
                </a:lnTo>
                <a:lnTo>
                  <a:pt x="210" y="89"/>
                </a:lnTo>
                <a:lnTo>
                  <a:pt x="210" y="97"/>
                </a:lnTo>
                <a:lnTo>
                  <a:pt x="210" y="105"/>
                </a:lnTo>
                <a:lnTo>
                  <a:pt x="201" y="105"/>
                </a:lnTo>
                <a:lnTo>
                  <a:pt x="201" y="113"/>
                </a:lnTo>
                <a:lnTo>
                  <a:pt x="192" y="113"/>
                </a:lnTo>
                <a:lnTo>
                  <a:pt x="192" y="121"/>
                </a:lnTo>
                <a:lnTo>
                  <a:pt x="192" y="129"/>
                </a:lnTo>
                <a:lnTo>
                  <a:pt x="192" y="137"/>
                </a:lnTo>
                <a:lnTo>
                  <a:pt x="201" y="137"/>
                </a:lnTo>
                <a:lnTo>
                  <a:pt x="201" y="146"/>
                </a:lnTo>
                <a:lnTo>
                  <a:pt x="210" y="146"/>
                </a:lnTo>
                <a:lnTo>
                  <a:pt x="210" y="154"/>
                </a:lnTo>
                <a:lnTo>
                  <a:pt x="210" y="162"/>
                </a:lnTo>
                <a:lnTo>
                  <a:pt x="210" y="170"/>
                </a:lnTo>
                <a:lnTo>
                  <a:pt x="220" y="170"/>
                </a:lnTo>
                <a:lnTo>
                  <a:pt x="220" y="178"/>
                </a:lnTo>
                <a:lnTo>
                  <a:pt x="229" y="178"/>
                </a:lnTo>
                <a:lnTo>
                  <a:pt x="229" y="186"/>
                </a:lnTo>
                <a:lnTo>
                  <a:pt x="238" y="186"/>
                </a:lnTo>
                <a:lnTo>
                  <a:pt x="247" y="186"/>
                </a:lnTo>
                <a:lnTo>
                  <a:pt x="256" y="186"/>
                </a:lnTo>
                <a:lnTo>
                  <a:pt x="265" y="186"/>
                </a:lnTo>
                <a:lnTo>
                  <a:pt x="275" y="186"/>
                </a:lnTo>
                <a:lnTo>
                  <a:pt x="275" y="178"/>
                </a:lnTo>
                <a:lnTo>
                  <a:pt x="284" y="178"/>
                </a:lnTo>
                <a:lnTo>
                  <a:pt x="293" y="178"/>
                </a:lnTo>
                <a:lnTo>
                  <a:pt x="302" y="178"/>
                </a:lnTo>
                <a:lnTo>
                  <a:pt x="311" y="178"/>
                </a:lnTo>
                <a:lnTo>
                  <a:pt x="311" y="186"/>
                </a:lnTo>
                <a:lnTo>
                  <a:pt x="320" y="186"/>
                </a:lnTo>
                <a:lnTo>
                  <a:pt x="330" y="186"/>
                </a:lnTo>
                <a:lnTo>
                  <a:pt x="330" y="194"/>
                </a:lnTo>
                <a:lnTo>
                  <a:pt x="339" y="194"/>
                </a:lnTo>
                <a:lnTo>
                  <a:pt x="339" y="218"/>
                </a:lnTo>
                <a:lnTo>
                  <a:pt x="320" y="242"/>
                </a:lnTo>
                <a:lnTo>
                  <a:pt x="302" y="267"/>
                </a:lnTo>
                <a:lnTo>
                  <a:pt x="238" y="315"/>
                </a:lnTo>
                <a:lnTo>
                  <a:pt x="210" y="347"/>
                </a:lnTo>
                <a:lnTo>
                  <a:pt x="192" y="363"/>
                </a:lnTo>
                <a:lnTo>
                  <a:pt x="165" y="372"/>
                </a:lnTo>
                <a:lnTo>
                  <a:pt x="165" y="388"/>
                </a:lnTo>
                <a:lnTo>
                  <a:pt x="128" y="363"/>
                </a:lnTo>
                <a:lnTo>
                  <a:pt x="91" y="339"/>
                </a:lnTo>
                <a:lnTo>
                  <a:pt x="55" y="323"/>
                </a:lnTo>
                <a:lnTo>
                  <a:pt x="36" y="291"/>
                </a:lnTo>
                <a:lnTo>
                  <a:pt x="18" y="275"/>
                </a:lnTo>
                <a:lnTo>
                  <a:pt x="0" y="242"/>
                </a:lnTo>
                <a:lnTo>
                  <a:pt x="0" y="194"/>
                </a:lnTo>
                <a:lnTo>
                  <a:pt x="0" y="146"/>
                </a:lnTo>
                <a:close/>
              </a:path>
            </a:pathLst>
          </a:custGeom>
          <a:solidFill>
            <a:schemeClr val="hlink"/>
          </a:solidFill>
          <a:ln w="14288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71" name="Rectangle 177"/>
          <p:cNvSpPr>
            <a:spLocks noChangeArrowheads="1"/>
          </p:cNvSpPr>
          <p:nvPr>
            <p:custDataLst>
              <p:tags r:id="rId226"/>
            </p:custDataLst>
          </p:nvPr>
        </p:nvSpPr>
        <p:spPr bwMode="gray">
          <a:xfrm>
            <a:off x="8237556" y="2737528"/>
            <a:ext cx="312852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Sialkot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72" name="Rectangle 117"/>
          <p:cNvSpPr>
            <a:spLocks noChangeArrowheads="1"/>
          </p:cNvSpPr>
          <p:nvPr>
            <p:custDataLst>
              <p:tags r:id="rId227"/>
            </p:custDataLst>
          </p:nvPr>
        </p:nvSpPr>
        <p:spPr bwMode="gray">
          <a:xfrm>
            <a:off x="7883453" y="2937706"/>
            <a:ext cx="527295" cy="124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Gujranwala</a:t>
            </a:r>
          </a:p>
        </p:txBody>
      </p:sp>
      <p:sp>
        <p:nvSpPr>
          <p:cNvPr id="473" name="Rectangle 118"/>
          <p:cNvSpPr>
            <a:spLocks noChangeArrowheads="1"/>
          </p:cNvSpPr>
          <p:nvPr>
            <p:custDataLst>
              <p:tags r:id="rId228"/>
            </p:custDataLst>
          </p:nvPr>
        </p:nvSpPr>
        <p:spPr bwMode="gray">
          <a:xfrm>
            <a:off x="7422247" y="2972955"/>
            <a:ext cx="471376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Hafizabad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74" name="Freeform 157"/>
          <p:cNvSpPr>
            <a:spLocks/>
          </p:cNvSpPr>
          <p:nvPr>
            <p:custDataLst>
              <p:tags r:id="rId229"/>
            </p:custDataLst>
          </p:nvPr>
        </p:nvSpPr>
        <p:spPr bwMode="gray">
          <a:xfrm>
            <a:off x="7948073" y="3077226"/>
            <a:ext cx="555202" cy="521362"/>
          </a:xfrm>
          <a:custGeom>
            <a:avLst/>
            <a:gdLst>
              <a:gd name="T0" fmla="*/ 207 w 385"/>
              <a:gd name="T1" fmla="*/ 319 h 363"/>
              <a:gd name="T2" fmla="*/ 146 w 385"/>
              <a:gd name="T3" fmla="*/ 327 h 363"/>
              <a:gd name="T4" fmla="*/ 86 w 385"/>
              <a:gd name="T5" fmla="*/ 319 h 363"/>
              <a:gd name="T6" fmla="*/ 0 w 385"/>
              <a:gd name="T7" fmla="*/ 289 h 363"/>
              <a:gd name="T8" fmla="*/ 77 w 385"/>
              <a:gd name="T9" fmla="*/ 251 h 363"/>
              <a:gd name="T10" fmla="*/ 156 w 385"/>
              <a:gd name="T11" fmla="*/ 160 h 363"/>
              <a:gd name="T12" fmla="*/ 285 w 385"/>
              <a:gd name="T13" fmla="*/ 30 h 363"/>
              <a:gd name="T14" fmla="*/ 363 w 385"/>
              <a:gd name="T15" fmla="*/ 15 h 363"/>
              <a:gd name="T16" fmla="*/ 345 w 385"/>
              <a:gd name="T17" fmla="*/ 23 h 363"/>
              <a:gd name="T18" fmla="*/ 337 w 385"/>
              <a:gd name="T19" fmla="*/ 23 h 363"/>
              <a:gd name="T20" fmla="*/ 328 w 385"/>
              <a:gd name="T21" fmla="*/ 23 h 363"/>
              <a:gd name="T22" fmla="*/ 311 w 385"/>
              <a:gd name="T23" fmla="*/ 30 h 363"/>
              <a:gd name="T24" fmla="*/ 311 w 385"/>
              <a:gd name="T25" fmla="*/ 46 h 363"/>
              <a:gd name="T26" fmla="*/ 293 w 385"/>
              <a:gd name="T27" fmla="*/ 38 h 363"/>
              <a:gd name="T28" fmla="*/ 293 w 385"/>
              <a:gd name="T29" fmla="*/ 46 h 363"/>
              <a:gd name="T30" fmla="*/ 285 w 385"/>
              <a:gd name="T31" fmla="*/ 54 h 363"/>
              <a:gd name="T32" fmla="*/ 276 w 385"/>
              <a:gd name="T33" fmla="*/ 61 h 363"/>
              <a:gd name="T34" fmla="*/ 268 w 385"/>
              <a:gd name="T35" fmla="*/ 69 h 363"/>
              <a:gd name="T36" fmla="*/ 268 w 385"/>
              <a:gd name="T37" fmla="*/ 76 h 363"/>
              <a:gd name="T38" fmla="*/ 268 w 385"/>
              <a:gd name="T39" fmla="*/ 91 h 363"/>
              <a:gd name="T40" fmla="*/ 259 w 385"/>
              <a:gd name="T41" fmla="*/ 99 h 363"/>
              <a:gd name="T42" fmla="*/ 241 w 385"/>
              <a:gd name="T43" fmla="*/ 106 h 363"/>
              <a:gd name="T44" fmla="*/ 233 w 385"/>
              <a:gd name="T45" fmla="*/ 114 h 363"/>
              <a:gd name="T46" fmla="*/ 233 w 385"/>
              <a:gd name="T47" fmla="*/ 122 h 363"/>
              <a:gd name="T48" fmla="*/ 250 w 385"/>
              <a:gd name="T49" fmla="*/ 129 h 363"/>
              <a:gd name="T50" fmla="*/ 250 w 385"/>
              <a:gd name="T51" fmla="*/ 137 h 363"/>
              <a:gd name="T52" fmla="*/ 259 w 385"/>
              <a:gd name="T53" fmla="*/ 144 h 363"/>
              <a:gd name="T54" fmla="*/ 259 w 385"/>
              <a:gd name="T55" fmla="*/ 160 h 363"/>
              <a:gd name="T56" fmla="*/ 276 w 385"/>
              <a:gd name="T57" fmla="*/ 168 h 363"/>
              <a:gd name="T58" fmla="*/ 276 w 385"/>
              <a:gd name="T59" fmla="*/ 175 h 363"/>
              <a:gd name="T60" fmla="*/ 285 w 385"/>
              <a:gd name="T61" fmla="*/ 183 h 363"/>
              <a:gd name="T62" fmla="*/ 285 w 385"/>
              <a:gd name="T63" fmla="*/ 190 h 363"/>
              <a:gd name="T64" fmla="*/ 285 w 385"/>
              <a:gd name="T65" fmla="*/ 190 h 363"/>
              <a:gd name="T66" fmla="*/ 293 w 385"/>
              <a:gd name="T67" fmla="*/ 198 h 363"/>
              <a:gd name="T68" fmla="*/ 285 w 385"/>
              <a:gd name="T69" fmla="*/ 205 h 363"/>
              <a:gd name="T70" fmla="*/ 276 w 385"/>
              <a:gd name="T71" fmla="*/ 213 h 363"/>
              <a:gd name="T72" fmla="*/ 285 w 385"/>
              <a:gd name="T73" fmla="*/ 220 h 363"/>
              <a:gd name="T74" fmla="*/ 293 w 385"/>
              <a:gd name="T75" fmla="*/ 220 h 363"/>
              <a:gd name="T76" fmla="*/ 311 w 385"/>
              <a:gd name="T77" fmla="*/ 228 h 363"/>
              <a:gd name="T78" fmla="*/ 302 w 385"/>
              <a:gd name="T79" fmla="*/ 236 h 363"/>
              <a:gd name="T80" fmla="*/ 311 w 385"/>
              <a:gd name="T81" fmla="*/ 251 h 363"/>
              <a:gd name="T82" fmla="*/ 293 w 385"/>
              <a:gd name="T83" fmla="*/ 243 h 363"/>
              <a:gd name="T84" fmla="*/ 285 w 385"/>
              <a:gd name="T85" fmla="*/ 251 h 363"/>
              <a:gd name="T86" fmla="*/ 276 w 385"/>
              <a:gd name="T87" fmla="*/ 267 h 363"/>
              <a:gd name="T88" fmla="*/ 259 w 385"/>
              <a:gd name="T89" fmla="*/ 274 h 363"/>
              <a:gd name="T90" fmla="*/ 259 w 385"/>
              <a:gd name="T91" fmla="*/ 289 h 363"/>
              <a:gd name="T92" fmla="*/ 259 w 385"/>
              <a:gd name="T93" fmla="*/ 289 h 363"/>
              <a:gd name="T94" fmla="*/ 241 w 385"/>
              <a:gd name="T95" fmla="*/ 297 h 36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85" h="363">
                <a:moveTo>
                  <a:pt x="256" y="315"/>
                </a:moveTo>
                <a:lnTo>
                  <a:pt x="247" y="323"/>
                </a:lnTo>
                <a:lnTo>
                  <a:pt x="220" y="339"/>
                </a:lnTo>
                <a:lnTo>
                  <a:pt x="201" y="339"/>
                </a:lnTo>
                <a:lnTo>
                  <a:pt x="183" y="347"/>
                </a:lnTo>
                <a:lnTo>
                  <a:pt x="155" y="347"/>
                </a:lnTo>
                <a:lnTo>
                  <a:pt x="119" y="363"/>
                </a:lnTo>
                <a:lnTo>
                  <a:pt x="100" y="355"/>
                </a:lnTo>
                <a:lnTo>
                  <a:pt x="91" y="339"/>
                </a:lnTo>
                <a:lnTo>
                  <a:pt x="64" y="339"/>
                </a:lnTo>
                <a:lnTo>
                  <a:pt x="27" y="331"/>
                </a:lnTo>
                <a:lnTo>
                  <a:pt x="0" y="307"/>
                </a:lnTo>
                <a:lnTo>
                  <a:pt x="27" y="283"/>
                </a:lnTo>
                <a:lnTo>
                  <a:pt x="55" y="283"/>
                </a:lnTo>
                <a:lnTo>
                  <a:pt x="82" y="266"/>
                </a:lnTo>
                <a:lnTo>
                  <a:pt x="110" y="218"/>
                </a:lnTo>
                <a:lnTo>
                  <a:pt x="137" y="194"/>
                </a:lnTo>
                <a:lnTo>
                  <a:pt x="165" y="170"/>
                </a:lnTo>
                <a:lnTo>
                  <a:pt x="210" y="121"/>
                </a:lnTo>
                <a:lnTo>
                  <a:pt x="256" y="73"/>
                </a:lnTo>
                <a:lnTo>
                  <a:pt x="302" y="32"/>
                </a:lnTo>
                <a:lnTo>
                  <a:pt x="357" y="8"/>
                </a:lnTo>
                <a:lnTo>
                  <a:pt x="375" y="0"/>
                </a:lnTo>
                <a:lnTo>
                  <a:pt x="385" y="16"/>
                </a:lnTo>
                <a:lnTo>
                  <a:pt x="375" y="16"/>
                </a:lnTo>
                <a:lnTo>
                  <a:pt x="375" y="24"/>
                </a:lnTo>
                <a:lnTo>
                  <a:pt x="366" y="24"/>
                </a:lnTo>
                <a:lnTo>
                  <a:pt x="357" y="24"/>
                </a:lnTo>
                <a:lnTo>
                  <a:pt x="348" y="24"/>
                </a:lnTo>
                <a:lnTo>
                  <a:pt x="339" y="24"/>
                </a:lnTo>
                <a:lnTo>
                  <a:pt x="339" y="32"/>
                </a:lnTo>
                <a:lnTo>
                  <a:pt x="330" y="32"/>
                </a:lnTo>
                <a:lnTo>
                  <a:pt x="330" y="40"/>
                </a:lnTo>
                <a:lnTo>
                  <a:pt x="330" y="49"/>
                </a:lnTo>
                <a:lnTo>
                  <a:pt x="330" y="40"/>
                </a:lnTo>
                <a:lnTo>
                  <a:pt x="320" y="40"/>
                </a:lnTo>
                <a:lnTo>
                  <a:pt x="311" y="40"/>
                </a:lnTo>
                <a:lnTo>
                  <a:pt x="311" y="49"/>
                </a:lnTo>
                <a:lnTo>
                  <a:pt x="320" y="49"/>
                </a:lnTo>
                <a:lnTo>
                  <a:pt x="311" y="49"/>
                </a:lnTo>
                <a:lnTo>
                  <a:pt x="302" y="49"/>
                </a:lnTo>
                <a:lnTo>
                  <a:pt x="302" y="57"/>
                </a:lnTo>
                <a:lnTo>
                  <a:pt x="302" y="65"/>
                </a:lnTo>
                <a:lnTo>
                  <a:pt x="293" y="65"/>
                </a:lnTo>
                <a:lnTo>
                  <a:pt x="293" y="73"/>
                </a:lnTo>
                <a:lnTo>
                  <a:pt x="284" y="73"/>
                </a:lnTo>
                <a:lnTo>
                  <a:pt x="284" y="81"/>
                </a:lnTo>
                <a:lnTo>
                  <a:pt x="293" y="81"/>
                </a:lnTo>
                <a:lnTo>
                  <a:pt x="284" y="81"/>
                </a:lnTo>
                <a:lnTo>
                  <a:pt x="284" y="89"/>
                </a:lnTo>
                <a:lnTo>
                  <a:pt x="284" y="97"/>
                </a:lnTo>
                <a:lnTo>
                  <a:pt x="284" y="105"/>
                </a:lnTo>
                <a:lnTo>
                  <a:pt x="275" y="105"/>
                </a:lnTo>
                <a:lnTo>
                  <a:pt x="265" y="105"/>
                </a:lnTo>
                <a:lnTo>
                  <a:pt x="265" y="113"/>
                </a:lnTo>
                <a:lnTo>
                  <a:pt x="256" y="113"/>
                </a:lnTo>
                <a:lnTo>
                  <a:pt x="256" y="105"/>
                </a:lnTo>
                <a:lnTo>
                  <a:pt x="256" y="113"/>
                </a:lnTo>
                <a:lnTo>
                  <a:pt x="247" y="121"/>
                </a:lnTo>
                <a:lnTo>
                  <a:pt x="247" y="129"/>
                </a:lnTo>
                <a:lnTo>
                  <a:pt x="256" y="129"/>
                </a:lnTo>
                <a:lnTo>
                  <a:pt x="256" y="137"/>
                </a:lnTo>
                <a:lnTo>
                  <a:pt x="265" y="137"/>
                </a:lnTo>
                <a:lnTo>
                  <a:pt x="275" y="137"/>
                </a:lnTo>
                <a:lnTo>
                  <a:pt x="275" y="145"/>
                </a:lnTo>
                <a:lnTo>
                  <a:pt x="265" y="145"/>
                </a:lnTo>
                <a:lnTo>
                  <a:pt x="265" y="153"/>
                </a:lnTo>
                <a:lnTo>
                  <a:pt x="275" y="153"/>
                </a:lnTo>
                <a:lnTo>
                  <a:pt x="275" y="162"/>
                </a:lnTo>
                <a:lnTo>
                  <a:pt x="275" y="170"/>
                </a:lnTo>
                <a:lnTo>
                  <a:pt x="275" y="178"/>
                </a:lnTo>
                <a:lnTo>
                  <a:pt x="284" y="178"/>
                </a:lnTo>
                <a:lnTo>
                  <a:pt x="293" y="178"/>
                </a:lnTo>
                <a:lnTo>
                  <a:pt x="293" y="186"/>
                </a:lnTo>
                <a:lnTo>
                  <a:pt x="302" y="186"/>
                </a:lnTo>
                <a:lnTo>
                  <a:pt x="293" y="186"/>
                </a:lnTo>
                <a:lnTo>
                  <a:pt x="302" y="186"/>
                </a:lnTo>
                <a:lnTo>
                  <a:pt x="302" y="194"/>
                </a:lnTo>
                <a:lnTo>
                  <a:pt x="311" y="194"/>
                </a:lnTo>
                <a:lnTo>
                  <a:pt x="302" y="194"/>
                </a:lnTo>
                <a:lnTo>
                  <a:pt x="302" y="202"/>
                </a:lnTo>
                <a:lnTo>
                  <a:pt x="311" y="202"/>
                </a:lnTo>
                <a:lnTo>
                  <a:pt x="302" y="202"/>
                </a:lnTo>
                <a:lnTo>
                  <a:pt x="311" y="202"/>
                </a:lnTo>
                <a:lnTo>
                  <a:pt x="302" y="202"/>
                </a:lnTo>
                <a:lnTo>
                  <a:pt x="311" y="210"/>
                </a:lnTo>
                <a:lnTo>
                  <a:pt x="302" y="210"/>
                </a:lnTo>
                <a:lnTo>
                  <a:pt x="302" y="218"/>
                </a:lnTo>
                <a:lnTo>
                  <a:pt x="293" y="218"/>
                </a:lnTo>
                <a:lnTo>
                  <a:pt x="293" y="226"/>
                </a:lnTo>
                <a:lnTo>
                  <a:pt x="302" y="226"/>
                </a:lnTo>
                <a:lnTo>
                  <a:pt x="302" y="234"/>
                </a:lnTo>
                <a:lnTo>
                  <a:pt x="311" y="234"/>
                </a:lnTo>
                <a:lnTo>
                  <a:pt x="320" y="234"/>
                </a:lnTo>
                <a:lnTo>
                  <a:pt x="311" y="234"/>
                </a:lnTo>
                <a:lnTo>
                  <a:pt x="311" y="242"/>
                </a:lnTo>
                <a:lnTo>
                  <a:pt x="320" y="242"/>
                </a:lnTo>
                <a:lnTo>
                  <a:pt x="330" y="242"/>
                </a:lnTo>
                <a:lnTo>
                  <a:pt x="330" y="250"/>
                </a:lnTo>
                <a:lnTo>
                  <a:pt x="320" y="250"/>
                </a:lnTo>
                <a:lnTo>
                  <a:pt x="320" y="258"/>
                </a:lnTo>
                <a:lnTo>
                  <a:pt x="330" y="258"/>
                </a:lnTo>
                <a:lnTo>
                  <a:pt x="330" y="266"/>
                </a:lnTo>
                <a:lnTo>
                  <a:pt x="320" y="266"/>
                </a:lnTo>
                <a:lnTo>
                  <a:pt x="311" y="266"/>
                </a:lnTo>
                <a:lnTo>
                  <a:pt x="311" y="258"/>
                </a:lnTo>
                <a:lnTo>
                  <a:pt x="311" y="266"/>
                </a:lnTo>
                <a:lnTo>
                  <a:pt x="302" y="266"/>
                </a:lnTo>
                <a:lnTo>
                  <a:pt x="302" y="275"/>
                </a:lnTo>
                <a:lnTo>
                  <a:pt x="293" y="275"/>
                </a:lnTo>
                <a:lnTo>
                  <a:pt x="293" y="283"/>
                </a:lnTo>
                <a:lnTo>
                  <a:pt x="284" y="291"/>
                </a:lnTo>
                <a:lnTo>
                  <a:pt x="275" y="291"/>
                </a:lnTo>
                <a:lnTo>
                  <a:pt x="275" y="299"/>
                </a:lnTo>
                <a:lnTo>
                  <a:pt x="275" y="307"/>
                </a:lnTo>
                <a:lnTo>
                  <a:pt x="265" y="307"/>
                </a:lnTo>
                <a:lnTo>
                  <a:pt x="275" y="307"/>
                </a:lnTo>
                <a:lnTo>
                  <a:pt x="265" y="307"/>
                </a:lnTo>
                <a:lnTo>
                  <a:pt x="265" y="315"/>
                </a:lnTo>
                <a:lnTo>
                  <a:pt x="256" y="315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75" name="Freeform 138" descr="Wide upward diagonal"/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7422247" y="3030230"/>
            <a:ext cx="1063402" cy="672630"/>
          </a:xfrm>
          <a:custGeom>
            <a:avLst/>
            <a:gdLst>
              <a:gd name="T0" fmla="*/ 0 w 742"/>
              <a:gd name="T1" fmla="*/ 114 h 468"/>
              <a:gd name="T2" fmla="*/ 52 w 742"/>
              <a:gd name="T3" fmla="*/ 106 h 468"/>
              <a:gd name="T4" fmla="*/ 87 w 742"/>
              <a:gd name="T5" fmla="*/ 106 h 468"/>
              <a:gd name="T6" fmla="*/ 147 w 742"/>
              <a:gd name="T7" fmla="*/ 114 h 468"/>
              <a:gd name="T8" fmla="*/ 155 w 742"/>
              <a:gd name="T9" fmla="*/ 99 h 468"/>
              <a:gd name="T10" fmla="*/ 172 w 742"/>
              <a:gd name="T11" fmla="*/ 76 h 468"/>
              <a:gd name="T12" fmla="*/ 216 w 742"/>
              <a:gd name="T13" fmla="*/ 68 h 468"/>
              <a:gd name="T14" fmla="*/ 234 w 742"/>
              <a:gd name="T15" fmla="*/ 53 h 468"/>
              <a:gd name="T16" fmla="*/ 276 w 742"/>
              <a:gd name="T17" fmla="*/ 30 h 468"/>
              <a:gd name="T18" fmla="*/ 302 w 742"/>
              <a:gd name="T19" fmla="*/ 30 h 468"/>
              <a:gd name="T20" fmla="*/ 319 w 742"/>
              <a:gd name="T21" fmla="*/ 45 h 468"/>
              <a:gd name="T22" fmla="*/ 311 w 742"/>
              <a:gd name="T23" fmla="*/ 60 h 468"/>
              <a:gd name="T24" fmla="*/ 311 w 742"/>
              <a:gd name="T25" fmla="*/ 91 h 468"/>
              <a:gd name="T26" fmla="*/ 346 w 742"/>
              <a:gd name="T27" fmla="*/ 91 h 468"/>
              <a:gd name="T28" fmla="*/ 406 w 742"/>
              <a:gd name="T29" fmla="*/ 99 h 468"/>
              <a:gd name="T30" fmla="*/ 440 w 742"/>
              <a:gd name="T31" fmla="*/ 99 h 468"/>
              <a:gd name="T32" fmla="*/ 475 w 742"/>
              <a:gd name="T33" fmla="*/ 76 h 468"/>
              <a:gd name="T34" fmla="*/ 501 w 742"/>
              <a:gd name="T35" fmla="*/ 68 h 468"/>
              <a:gd name="T36" fmla="*/ 544 w 742"/>
              <a:gd name="T37" fmla="*/ 76 h 468"/>
              <a:gd name="T38" fmla="*/ 578 w 742"/>
              <a:gd name="T39" fmla="*/ 60 h 468"/>
              <a:gd name="T40" fmla="*/ 605 w 742"/>
              <a:gd name="T41" fmla="*/ 38 h 468"/>
              <a:gd name="T42" fmla="*/ 622 w 742"/>
              <a:gd name="T43" fmla="*/ 30 h 468"/>
              <a:gd name="T44" fmla="*/ 665 w 742"/>
              <a:gd name="T45" fmla="*/ 8 h 468"/>
              <a:gd name="T46" fmla="*/ 682 w 742"/>
              <a:gd name="T47" fmla="*/ 0 h 468"/>
              <a:gd name="T48" fmla="*/ 699 w 742"/>
              <a:gd name="T49" fmla="*/ 30 h 468"/>
              <a:gd name="T50" fmla="*/ 682 w 742"/>
              <a:gd name="T51" fmla="*/ 38 h 468"/>
              <a:gd name="T52" fmla="*/ 630 w 742"/>
              <a:gd name="T53" fmla="*/ 60 h 468"/>
              <a:gd name="T54" fmla="*/ 587 w 742"/>
              <a:gd name="T55" fmla="*/ 99 h 468"/>
              <a:gd name="T56" fmla="*/ 544 w 742"/>
              <a:gd name="T57" fmla="*/ 144 h 468"/>
              <a:gd name="T58" fmla="*/ 501 w 742"/>
              <a:gd name="T59" fmla="*/ 190 h 468"/>
              <a:gd name="T60" fmla="*/ 475 w 742"/>
              <a:gd name="T61" fmla="*/ 213 h 468"/>
              <a:gd name="T62" fmla="*/ 449 w 742"/>
              <a:gd name="T63" fmla="*/ 236 h 468"/>
              <a:gd name="T64" fmla="*/ 423 w 742"/>
              <a:gd name="T65" fmla="*/ 281 h 468"/>
              <a:gd name="T66" fmla="*/ 398 w 742"/>
              <a:gd name="T67" fmla="*/ 297 h 468"/>
              <a:gd name="T68" fmla="*/ 371 w 742"/>
              <a:gd name="T69" fmla="*/ 297 h 468"/>
              <a:gd name="T70" fmla="*/ 354 w 742"/>
              <a:gd name="T71" fmla="*/ 319 h 468"/>
              <a:gd name="T72" fmla="*/ 284 w 742"/>
              <a:gd name="T73" fmla="*/ 350 h 468"/>
              <a:gd name="T74" fmla="*/ 242 w 742"/>
              <a:gd name="T75" fmla="*/ 365 h 468"/>
              <a:gd name="T76" fmla="*/ 216 w 742"/>
              <a:gd name="T77" fmla="*/ 365 h 468"/>
              <a:gd name="T78" fmla="*/ 190 w 742"/>
              <a:gd name="T79" fmla="*/ 387 h 468"/>
              <a:gd name="T80" fmla="*/ 155 w 742"/>
              <a:gd name="T81" fmla="*/ 387 h 468"/>
              <a:gd name="T82" fmla="*/ 147 w 742"/>
              <a:gd name="T83" fmla="*/ 403 h 468"/>
              <a:gd name="T84" fmla="*/ 130 w 742"/>
              <a:gd name="T85" fmla="*/ 418 h 468"/>
              <a:gd name="T86" fmla="*/ 104 w 742"/>
              <a:gd name="T87" fmla="*/ 418 h 468"/>
              <a:gd name="T88" fmla="*/ 60 w 742"/>
              <a:gd name="T89" fmla="*/ 426 h 468"/>
              <a:gd name="T90" fmla="*/ 8 w 742"/>
              <a:gd name="T91" fmla="*/ 441 h 468"/>
              <a:gd name="T92" fmla="*/ 17 w 742"/>
              <a:gd name="T93" fmla="*/ 418 h 468"/>
              <a:gd name="T94" fmla="*/ 35 w 742"/>
              <a:gd name="T95" fmla="*/ 411 h 468"/>
              <a:gd name="T96" fmla="*/ 52 w 742"/>
              <a:gd name="T97" fmla="*/ 387 h 468"/>
              <a:gd name="T98" fmla="*/ 87 w 742"/>
              <a:gd name="T99" fmla="*/ 387 h 468"/>
              <a:gd name="T100" fmla="*/ 172 w 742"/>
              <a:gd name="T101" fmla="*/ 335 h 468"/>
              <a:gd name="T102" fmla="*/ 199 w 742"/>
              <a:gd name="T103" fmla="*/ 297 h 468"/>
              <a:gd name="T104" fmla="*/ 190 w 742"/>
              <a:gd name="T105" fmla="*/ 258 h 468"/>
              <a:gd name="T106" fmla="*/ 147 w 742"/>
              <a:gd name="T107" fmla="*/ 266 h 468"/>
              <a:gd name="T108" fmla="*/ 104 w 742"/>
              <a:gd name="T109" fmla="*/ 273 h 468"/>
              <a:gd name="T110" fmla="*/ 87 w 742"/>
              <a:gd name="T111" fmla="*/ 251 h 468"/>
              <a:gd name="T112" fmla="*/ 87 w 742"/>
              <a:gd name="T113" fmla="*/ 221 h 468"/>
              <a:gd name="T114" fmla="*/ 69 w 742"/>
              <a:gd name="T115" fmla="*/ 174 h 468"/>
              <a:gd name="T116" fmla="*/ 43 w 742"/>
              <a:gd name="T117" fmla="*/ 167 h 468"/>
              <a:gd name="T118" fmla="*/ 0 w 742"/>
              <a:gd name="T119" fmla="*/ 114 h 46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42" h="468">
                <a:moveTo>
                  <a:pt x="0" y="121"/>
                </a:moveTo>
                <a:lnTo>
                  <a:pt x="55" y="113"/>
                </a:lnTo>
                <a:lnTo>
                  <a:pt x="92" y="113"/>
                </a:lnTo>
                <a:lnTo>
                  <a:pt x="156" y="121"/>
                </a:lnTo>
                <a:lnTo>
                  <a:pt x="165" y="105"/>
                </a:lnTo>
                <a:lnTo>
                  <a:pt x="183" y="81"/>
                </a:lnTo>
                <a:lnTo>
                  <a:pt x="229" y="72"/>
                </a:lnTo>
                <a:lnTo>
                  <a:pt x="248" y="56"/>
                </a:lnTo>
                <a:lnTo>
                  <a:pt x="293" y="32"/>
                </a:lnTo>
                <a:lnTo>
                  <a:pt x="321" y="32"/>
                </a:lnTo>
                <a:lnTo>
                  <a:pt x="339" y="48"/>
                </a:lnTo>
                <a:lnTo>
                  <a:pt x="330" y="64"/>
                </a:lnTo>
                <a:lnTo>
                  <a:pt x="330" y="97"/>
                </a:lnTo>
                <a:lnTo>
                  <a:pt x="367" y="97"/>
                </a:lnTo>
                <a:lnTo>
                  <a:pt x="431" y="105"/>
                </a:lnTo>
                <a:lnTo>
                  <a:pt x="467" y="105"/>
                </a:lnTo>
                <a:lnTo>
                  <a:pt x="504" y="81"/>
                </a:lnTo>
                <a:lnTo>
                  <a:pt x="532" y="72"/>
                </a:lnTo>
                <a:lnTo>
                  <a:pt x="577" y="81"/>
                </a:lnTo>
                <a:lnTo>
                  <a:pt x="614" y="64"/>
                </a:lnTo>
                <a:lnTo>
                  <a:pt x="642" y="40"/>
                </a:lnTo>
                <a:lnTo>
                  <a:pt x="660" y="32"/>
                </a:lnTo>
                <a:lnTo>
                  <a:pt x="706" y="8"/>
                </a:lnTo>
                <a:lnTo>
                  <a:pt x="724" y="0"/>
                </a:lnTo>
                <a:lnTo>
                  <a:pt x="742" y="32"/>
                </a:lnTo>
                <a:lnTo>
                  <a:pt x="724" y="40"/>
                </a:lnTo>
                <a:lnTo>
                  <a:pt x="669" y="64"/>
                </a:lnTo>
                <a:lnTo>
                  <a:pt x="623" y="105"/>
                </a:lnTo>
                <a:lnTo>
                  <a:pt x="577" y="153"/>
                </a:lnTo>
                <a:lnTo>
                  <a:pt x="532" y="202"/>
                </a:lnTo>
                <a:lnTo>
                  <a:pt x="504" y="226"/>
                </a:lnTo>
                <a:lnTo>
                  <a:pt x="477" y="250"/>
                </a:lnTo>
                <a:lnTo>
                  <a:pt x="449" y="298"/>
                </a:lnTo>
                <a:lnTo>
                  <a:pt x="422" y="315"/>
                </a:lnTo>
                <a:lnTo>
                  <a:pt x="394" y="315"/>
                </a:lnTo>
                <a:lnTo>
                  <a:pt x="376" y="339"/>
                </a:lnTo>
                <a:lnTo>
                  <a:pt x="302" y="371"/>
                </a:lnTo>
                <a:lnTo>
                  <a:pt x="257" y="387"/>
                </a:lnTo>
                <a:lnTo>
                  <a:pt x="229" y="387"/>
                </a:lnTo>
                <a:lnTo>
                  <a:pt x="202" y="411"/>
                </a:lnTo>
                <a:lnTo>
                  <a:pt x="165" y="411"/>
                </a:lnTo>
                <a:lnTo>
                  <a:pt x="156" y="428"/>
                </a:lnTo>
                <a:lnTo>
                  <a:pt x="138" y="444"/>
                </a:lnTo>
                <a:lnTo>
                  <a:pt x="110" y="444"/>
                </a:lnTo>
                <a:lnTo>
                  <a:pt x="64" y="452"/>
                </a:lnTo>
                <a:lnTo>
                  <a:pt x="9" y="468"/>
                </a:lnTo>
                <a:lnTo>
                  <a:pt x="18" y="444"/>
                </a:lnTo>
                <a:lnTo>
                  <a:pt x="37" y="436"/>
                </a:lnTo>
                <a:lnTo>
                  <a:pt x="55" y="411"/>
                </a:lnTo>
                <a:lnTo>
                  <a:pt x="92" y="411"/>
                </a:lnTo>
                <a:lnTo>
                  <a:pt x="183" y="355"/>
                </a:lnTo>
                <a:lnTo>
                  <a:pt x="211" y="315"/>
                </a:lnTo>
                <a:lnTo>
                  <a:pt x="202" y="274"/>
                </a:lnTo>
                <a:lnTo>
                  <a:pt x="156" y="282"/>
                </a:lnTo>
                <a:lnTo>
                  <a:pt x="110" y="290"/>
                </a:lnTo>
                <a:lnTo>
                  <a:pt x="92" y="266"/>
                </a:lnTo>
                <a:lnTo>
                  <a:pt x="92" y="234"/>
                </a:lnTo>
                <a:lnTo>
                  <a:pt x="73" y="185"/>
                </a:lnTo>
                <a:lnTo>
                  <a:pt x="46" y="177"/>
                </a:lnTo>
                <a:lnTo>
                  <a:pt x="0" y="121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76" name="Freeform 165" descr="Wide upward diagonal"/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7422247" y="3134509"/>
            <a:ext cx="566952" cy="556609"/>
          </a:xfrm>
          <a:custGeom>
            <a:avLst/>
            <a:gdLst>
              <a:gd name="T0" fmla="*/ 216 w 394"/>
              <a:gd name="T1" fmla="*/ 0 h 388"/>
              <a:gd name="T2" fmla="*/ 208 w 394"/>
              <a:gd name="T3" fmla="*/ 39 h 388"/>
              <a:gd name="T4" fmla="*/ 225 w 394"/>
              <a:gd name="T5" fmla="*/ 61 h 388"/>
              <a:gd name="T6" fmla="*/ 216 w 394"/>
              <a:gd name="T7" fmla="*/ 76 h 388"/>
              <a:gd name="T8" fmla="*/ 216 w 394"/>
              <a:gd name="T9" fmla="*/ 99 h 388"/>
              <a:gd name="T10" fmla="*/ 234 w 394"/>
              <a:gd name="T11" fmla="*/ 99 h 388"/>
              <a:gd name="T12" fmla="*/ 260 w 394"/>
              <a:gd name="T13" fmla="*/ 115 h 388"/>
              <a:gd name="T14" fmla="*/ 285 w 394"/>
              <a:gd name="T15" fmla="*/ 130 h 388"/>
              <a:gd name="T16" fmla="*/ 303 w 394"/>
              <a:gd name="T17" fmla="*/ 145 h 388"/>
              <a:gd name="T18" fmla="*/ 329 w 394"/>
              <a:gd name="T19" fmla="*/ 160 h 388"/>
              <a:gd name="T20" fmla="*/ 312 w 394"/>
              <a:gd name="T21" fmla="*/ 183 h 388"/>
              <a:gd name="T22" fmla="*/ 337 w 394"/>
              <a:gd name="T23" fmla="*/ 183 h 388"/>
              <a:gd name="T24" fmla="*/ 372 w 394"/>
              <a:gd name="T25" fmla="*/ 222 h 388"/>
              <a:gd name="T26" fmla="*/ 337 w 394"/>
              <a:gd name="T27" fmla="*/ 259 h 388"/>
              <a:gd name="T28" fmla="*/ 303 w 394"/>
              <a:gd name="T29" fmla="*/ 275 h 388"/>
              <a:gd name="T30" fmla="*/ 251 w 394"/>
              <a:gd name="T31" fmla="*/ 290 h 388"/>
              <a:gd name="T32" fmla="*/ 216 w 394"/>
              <a:gd name="T33" fmla="*/ 297 h 388"/>
              <a:gd name="T34" fmla="*/ 182 w 394"/>
              <a:gd name="T35" fmla="*/ 320 h 388"/>
              <a:gd name="T36" fmla="*/ 156 w 394"/>
              <a:gd name="T37" fmla="*/ 320 h 388"/>
              <a:gd name="T38" fmla="*/ 130 w 394"/>
              <a:gd name="T39" fmla="*/ 343 h 388"/>
              <a:gd name="T40" fmla="*/ 60 w 394"/>
              <a:gd name="T41" fmla="*/ 351 h 388"/>
              <a:gd name="T42" fmla="*/ 26 w 394"/>
              <a:gd name="T43" fmla="*/ 358 h 388"/>
              <a:gd name="T44" fmla="*/ 17 w 394"/>
              <a:gd name="T45" fmla="*/ 366 h 388"/>
              <a:gd name="T46" fmla="*/ 17 w 394"/>
              <a:gd name="T47" fmla="*/ 351 h 388"/>
              <a:gd name="T48" fmla="*/ 35 w 394"/>
              <a:gd name="T49" fmla="*/ 343 h 388"/>
              <a:gd name="T50" fmla="*/ 52 w 394"/>
              <a:gd name="T51" fmla="*/ 320 h 388"/>
              <a:gd name="T52" fmla="*/ 87 w 394"/>
              <a:gd name="T53" fmla="*/ 320 h 388"/>
              <a:gd name="T54" fmla="*/ 173 w 394"/>
              <a:gd name="T55" fmla="*/ 267 h 388"/>
              <a:gd name="T56" fmla="*/ 191 w 394"/>
              <a:gd name="T57" fmla="*/ 237 h 388"/>
              <a:gd name="T58" fmla="*/ 199 w 394"/>
              <a:gd name="T59" fmla="*/ 222 h 388"/>
              <a:gd name="T60" fmla="*/ 199 w 394"/>
              <a:gd name="T61" fmla="*/ 198 h 388"/>
              <a:gd name="T62" fmla="*/ 191 w 394"/>
              <a:gd name="T63" fmla="*/ 183 h 388"/>
              <a:gd name="T64" fmla="*/ 173 w 394"/>
              <a:gd name="T65" fmla="*/ 191 h 388"/>
              <a:gd name="T66" fmla="*/ 104 w 394"/>
              <a:gd name="T67" fmla="*/ 206 h 388"/>
              <a:gd name="T68" fmla="*/ 87 w 394"/>
              <a:gd name="T69" fmla="*/ 191 h 388"/>
              <a:gd name="T70" fmla="*/ 87 w 394"/>
              <a:gd name="T71" fmla="*/ 175 h 388"/>
              <a:gd name="T72" fmla="*/ 87 w 394"/>
              <a:gd name="T73" fmla="*/ 145 h 388"/>
              <a:gd name="T74" fmla="*/ 69 w 394"/>
              <a:gd name="T75" fmla="*/ 123 h 388"/>
              <a:gd name="T76" fmla="*/ 69 w 394"/>
              <a:gd name="T77" fmla="*/ 99 h 388"/>
              <a:gd name="T78" fmla="*/ 43 w 394"/>
              <a:gd name="T79" fmla="*/ 92 h 388"/>
              <a:gd name="T80" fmla="*/ 17 w 394"/>
              <a:gd name="T81" fmla="*/ 61 h 388"/>
              <a:gd name="T82" fmla="*/ 0 w 394"/>
              <a:gd name="T83" fmla="*/ 46 h 388"/>
              <a:gd name="T84" fmla="*/ 60 w 394"/>
              <a:gd name="T85" fmla="*/ 39 h 388"/>
              <a:gd name="T86" fmla="*/ 87 w 394"/>
              <a:gd name="T87" fmla="*/ 39 h 388"/>
              <a:gd name="T88" fmla="*/ 147 w 394"/>
              <a:gd name="T89" fmla="*/ 46 h 388"/>
              <a:gd name="T90" fmla="*/ 156 w 394"/>
              <a:gd name="T91" fmla="*/ 31 h 388"/>
              <a:gd name="T92" fmla="*/ 173 w 394"/>
              <a:gd name="T93" fmla="*/ 16 h 388"/>
              <a:gd name="T94" fmla="*/ 182 w 394"/>
              <a:gd name="T95" fmla="*/ 8 h 388"/>
              <a:gd name="T96" fmla="*/ 216 w 394"/>
              <a:gd name="T97" fmla="*/ 0 h 38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94" h="388">
                <a:moveTo>
                  <a:pt x="229" y="0"/>
                </a:moveTo>
                <a:lnTo>
                  <a:pt x="220" y="41"/>
                </a:lnTo>
                <a:lnTo>
                  <a:pt x="238" y="65"/>
                </a:lnTo>
                <a:lnTo>
                  <a:pt x="229" y="81"/>
                </a:lnTo>
                <a:lnTo>
                  <a:pt x="229" y="105"/>
                </a:lnTo>
                <a:lnTo>
                  <a:pt x="248" y="105"/>
                </a:lnTo>
                <a:lnTo>
                  <a:pt x="275" y="122"/>
                </a:lnTo>
                <a:lnTo>
                  <a:pt x="302" y="138"/>
                </a:lnTo>
                <a:lnTo>
                  <a:pt x="321" y="154"/>
                </a:lnTo>
                <a:lnTo>
                  <a:pt x="348" y="170"/>
                </a:lnTo>
                <a:lnTo>
                  <a:pt x="330" y="194"/>
                </a:lnTo>
                <a:lnTo>
                  <a:pt x="357" y="194"/>
                </a:lnTo>
                <a:lnTo>
                  <a:pt x="394" y="235"/>
                </a:lnTo>
                <a:lnTo>
                  <a:pt x="357" y="275"/>
                </a:lnTo>
                <a:lnTo>
                  <a:pt x="321" y="291"/>
                </a:lnTo>
                <a:lnTo>
                  <a:pt x="266" y="307"/>
                </a:lnTo>
                <a:lnTo>
                  <a:pt x="229" y="315"/>
                </a:lnTo>
                <a:lnTo>
                  <a:pt x="193" y="339"/>
                </a:lnTo>
                <a:lnTo>
                  <a:pt x="165" y="339"/>
                </a:lnTo>
                <a:lnTo>
                  <a:pt x="138" y="364"/>
                </a:lnTo>
                <a:lnTo>
                  <a:pt x="64" y="372"/>
                </a:lnTo>
                <a:lnTo>
                  <a:pt x="28" y="380"/>
                </a:lnTo>
                <a:lnTo>
                  <a:pt x="18" y="388"/>
                </a:lnTo>
                <a:lnTo>
                  <a:pt x="18" y="372"/>
                </a:lnTo>
                <a:lnTo>
                  <a:pt x="37" y="364"/>
                </a:lnTo>
                <a:lnTo>
                  <a:pt x="55" y="339"/>
                </a:lnTo>
                <a:lnTo>
                  <a:pt x="92" y="339"/>
                </a:lnTo>
                <a:lnTo>
                  <a:pt x="183" y="283"/>
                </a:lnTo>
                <a:lnTo>
                  <a:pt x="202" y="251"/>
                </a:lnTo>
                <a:lnTo>
                  <a:pt x="211" y="235"/>
                </a:lnTo>
                <a:lnTo>
                  <a:pt x="211" y="210"/>
                </a:lnTo>
                <a:lnTo>
                  <a:pt x="202" y="194"/>
                </a:lnTo>
                <a:lnTo>
                  <a:pt x="183" y="202"/>
                </a:lnTo>
                <a:lnTo>
                  <a:pt x="110" y="218"/>
                </a:lnTo>
                <a:lnTo>
                  <a:pt x="92" y="202"/>
                </a:lnTo>
                <a:lnTo>
                  <a:pt x="92" y="186"/>
                </a:lnTo>
                <a:lnTo>
                  <a:pt x="92" y="154"/>
                </a:lnTo>
                <a:lnTo>
                  <a:pt x="73" y="130"/>
                </a:lnTo>
                <a:lnTo>
                  <a:pt x="73" y="105"/>
                </a:lnTo>
                <a:lnTo>
                  <a:pt x="46" y="97"/>
                </a:lnTo>
                <a:lnTo>
                  <a:pt x="18" y="65"/>
                </a:lnTo>
                <a:lnTo>
                  <a:pt x="0" y="49"/>
                </a:lnTo>
                <a:lnTo>
                  <a:pt x="64" y="41"/>
                </a:lnTo>
                <a:lnTo>
                  <a:pt x="92" y="41"/>
                </a:lnTo>
                <a:lnTo>
                  <a:pt x="156" y="49"/>
                </a:lnTo>
                <a:lnTo>
                  <a:pt x="165" y="33"/>
                </a:lnTo>
                <a:lnTo>
                  <a:pt x="183" y="17"/>
                </a:lnTo>
                <a:lnTo>
                  <a:pt x="193" y="9"/>
                </a:lnTo>
                <a:lnTo>
                  <a:pt x="229" y="0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77" name="Rectangle 184"/>
          <p:cNvSpPr>
            <a:spLocks noChangeArrowheads="1"/>
          </p:cNvSpPr>
          <p:nvPr>
            <p:custDataLst>
              <p:tags r:id="rId232"/>
            </p:custDataLst>
          </p:nvPr>
        </p:nvSpPr>
        <p:spPr bwMode="gray">
          <a:xfrm>
            <a:off x="7765950" y="3169757"/>
            <a:ext cx="586047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>
                <a:solidFill>
                  <a:srgbClr val="000000"/>
                </a:solidFill>
              </a:rPr>
              <a:t>Sheikhupura</a:t>
            </a:r>
            <a:endParaRPr lang="en-GB" sz="2400" b="1">
              <a:solidFill>
                <a:srgbClr val="000000"/>
              </a:solidFill>
            </a:endParaRPr>
          </a:p>
        </p:txBody>
      </p:sp>
      <p:sp>
        <p:nvSpPr>
          <p:cNvPr id="480" name="Rectangle 119"/>
          <p:cNvSpPr>
            <a:spLocks noChangeArrowheads="1"/>
          </p:cNvSpPr>
          <p:nvPr>
            <p:custDataLst>
              <p:tags r:id="rId233"/>
            </p:custDataLst>
          </p:nvPr>
        </p:nvSpPr>
        <p:spPr bwMode="gray">
          <a:xfrm>
            <a:off x="8066949" y="3390127"/>
            <a:ext cx="325587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Lahore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60" name="Line 171"/>
          <p:cNvSpPr>
            <a:spLocks noChangeShapeType="1"/>
          </p:cNvSpPr>
          <p:nvPr>
            <p:custDataLst>
              <p:tags r:id="rId234"/>
            </p:custDataLst>
          </p:nvPr>
        </p:nvSpPr>
        <p:spPr bwMode="gray">
          <a:xfrm>
            <a:off x="7448692" y="4148238"/>
            <a:ext cx="420073" cy="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26" tIns="46614" rIns="93226" bIns="46614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61" name="Rectangle 180"/>
          <p:cNvSpPr>
            <a:spLocks noChangeArrowheads="1"/>
          </p:cNvSpPr>
          <p:nvPr>
            <p:custDataLst>
              <p:tags r:id="rId235"/>
            </p:custDataLst>
          </p:nvPr>
        </p:nvSpPr>
        <p:spPr bwMode="gray">
          <a:xfrm>
            <a:off x="7936329" y="4086557"/>
            <a:ext cx="471427" cy="1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Pakpattan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36" name="Rectangle 98"/>
          <p:cNvSpPr>
            <a:spLocks noChangeArrowheads="1"/>
          </p:cNvSpPr>
          <p:nvPr>
            <p:custDataLst>
              <p:tags r:id="rId236"/>
            </p:custDataLst>
          </p:nvPr>
        </p:nvSpPr>
        <p:spPr bwMode="gray">
          <a:xfrm>
            <a:off x="5697890" y="4653061"/>
            <a:ext cx="312852" cy="124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Multan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52" name="Freeform 26"/>
          <p:cNvSpPr>
            <a:spLocks/>
          </p:cNvSpPr>
          <p:nvPr>
            <p:custDataLst>
              <p:tags r:id="rId237"/>
            </p:custDataLst>
          </p:nvPr>
        </p:nvSpPr>
        <p:spPr bwMode="gray">
          <a:xfrm>
            <a:off x="6922859" y="3181498"/>
            <a:ext cx="801958" cy="740187"/>
          </a:xfrm>
          <a:custGeom>
            <a:avLst/>
            <a:gdLst>
              <a:gd name="T0" fmla="*/ 52 w 559"/>
              <a:gd name="T1" fmla="*/ 486 h 516"/>
              <a:gd name="T2" fmla="*/ 34 w 559"/>
              <a:gd name="T3" fmla="*/ 478 h 516"/>
              <a:gd name="T4" fmla="*/ 8 w 559"/>
              <a:gd name="T5" fmla="*/ 486 h 516"/>
              <a:gd name="T6" fmla="*/ 17 w 559"/>
              <a:gd name="T7" fmla="*/ 463 h 516"/>
              <a:gd name="T8" fmla="*/ 34 w 559"/>
              <a:gd name="T9" fmla="*/ 456 h 516"/>
              <a:gd name="T10" fmla="*/ 17 w 559"/>
              <a:gd name="T11" fmla="*/ 441 h 516"/>
              <a:gd name="T12" fmla="*/ 0 w 559"/>
              <a:gd name="T13" fmla="*/ 418 h 516"/>
              <a:gd name="T14" fmla="*/ 17 w 559"/>
              <a:gd name="T15" fmla="*/ 403 h 516"/>
              <a:gd name="T16" fmla="*/ 43 w 559"/>
              <a:gd name="T17" fmla="*/ 387 h 516"/>
              <a:gd name="T18" fmla="*/ 60 w 559"/>
              <a:gd name="T19" fmla="*/ 349 h 516"/>
              <a:gd name="T20" fmla="*/ 43 w 559"/>
              <a:gd name="T21" fmla="*/ 342 h 516"/>
              <a:gd name="T22" fmla="*/ 43 w 559"/>
              <a:gd name="T23" fmla="*/ 312 h 516"/>
              <a:gd name="T24" fmla="*/ 43 w 559"/>
              <a:gd name="T25" fmla="*/ 288 h 516"/>
              <a:gd name="T26" fmla="*/ 60 w 559"/>
              <a:gd name="T27" fmla="*/ 273 h 516"/>
              <a:gd name="T28" fmla="*/ 77 w 559"/>
              <a:gd name="T29" fmla="*/ 258 h 516"/>
              <a:gd name="T30" fmla="*/ 95 w 559"/>
              <a:gd name="T31" fmla="*/ 243 h 516"/>
              <a:gd name="T32" fmla="*/ 69 w 559"/>
              <a:gd name="T33" fmla="*/ 220 h 516"/>
              <a:gd name="T34" fmla="*/ 69 w 559"/>
              <a:gd name="T35" fmla="*/ 198 h 516"/>
              <a:gd name="T36" fmla="*/ 77 w 559"/>
              <a:gd name="T37" fmla="*/ 190 h 516"/>
              <a:gd name="T38" fmla="*/ 95 w 559"/>
              <a:gd name="T39" fmla="*/ 159 h 516"/>
              <a:gd name="T40" fmla="*/ 129 w 559"/>
              <a:gd name="T41" fmla="*/ 122 h 516"/>
              <a:gd name="T42" fmla="*/ 172 w 559"/>
              <a:gd name="T43" fmla="*/ 99 h 516"/>
              <a:gd name="T44" fmla="*/ 207 w 559"/>
              <a:gd name="T45" fmla="*/ 91 h 516"/>
              <a:gd name="T46" fmla="*/ 232 w 559"/>
              <a:gd name="T47" fmla="*/ 60 h 516"/>
              <a:gd name="T48" fmla="*/ 259 w 559"/>
              <a:gd name="T49" fmla="*/ 30 h 516"/>
              <a:gd name="T50" fmla="*/ 293 w 559"/>
              <a:gd name="T51" fmla="*/ 0 h 516"/>
              <a:gd name="T52" fmla="*/ 319 w 559"/>
              <a:gd name="T53" fmla="*/ 15 h 516"/>
              <a:gd name="T54" fmla="*/ 371 w 559"/>
              <a:gd name="T55" fmla="*/ 68 h 516"/>
              <a:gd name="T56" fmla="*/ 396 w 559"/>
              <a:gd name="T57" fmla="*/ 75 h 516"/>
              <a:gd name="T58" fmla="*/ 414 w 559"/>
              <a:gd name="T59" fmla="*/ 122 h 516"/>
              <a:gd name="T60" fmla="*/ 414 w 559"/>
              <a:gd name="T61" fmla="*/ 152 h 516"/>
              <a:gd name="T62" fmla="*/ 431 w 559"/>
              <a:gd name="T63" fmla="*/ 174 h 516"/>
              <a:gd name="T64" fmla="*/ 474 w 559"/>
              <a:gd name="T65" fmla="*/ 167 h 516"/>
              <a:gd name="T66" fmla="*/ 518 w 559"/>
              <a:gd name="T67" fmla="*/ 159 h 516"/>
              <a:gd name="T68" fmla="*/ 526 w 559"/>
              <a:gd name="T69" fmla="*/ 198 h 516"/>
              <a:gd name="T70" fmla="*/ 500 w 559"/>
              <a:gd name="T71" fmla="*/ 235 h 516"/>
              <a:gd name="T72" fmla="*/ 414 w 559"/>
              <a:gd name="T73" fmla="*/ 288 h 516"/>
              <a:gd name="T74" fmla="*/ 379 w 559"/>
              <a:gd name="T75" fmla="*/ 288 h 516"/>
              <a:gd name="T76" fmla="*/ 362 w 559"/>
              <a:gd name="T77" fmla="*/ 312 h 516"/>
              <a:gd name="T78" fmla="*/ 344 w 559"/>
              <a:gd name="T79" fmla="*/ 319 h 516"/>
              <a:gd name="T80" fmla="*/ 336 w 559"/>
              <a:gd name="T81" fmla="*/ 342 h 516"/>
              <a:gd name="T82" fmla="*/ 311 w 559"/>
              <a:gd name="T83" fmla="*/ 372 h 516"/>
              <a:gd name="T84" fmla="*/ 276 w 559"/>
              <a:gd name="T85" fmla="*/ 395 h 516"/>
              <a:gd name="T86" fmla="*/ 224 w 559"/>
              <a:gd name="T87" fmla="*/ 418 h 516"/>
              <a:gd name="T88" fmla="*/ 199 w 559"/>
              <a:gd name="T89" fmla="*/ 441 h 516"/>
              <a:gd name="T90" fmla="*/ 155 w 559"/>
              <a:gd name="T91" fmla="*/ 463 h 516"/>
              <a:gd name="T92" fmla="*/ 112 w 559"/>
              <a:gd name="T93" fmla="*/ 478 h 516"/>
              <a:gd name="T94" fmla="*/ 77 w 559"/>
              <a:gd name="T95" fmla="*/ 486 h 516"/>
              <a:gd name="T96" fmla="*/ 52 w 559"/>
              <a:gd name="T97" fmla="*/ 486 h 51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59" h="516">
                <a:moveTo>
                  <a:pt x="55" y="516"/>
                </a:moveTo>
                <a:lnTo>
                  <a:pt x="36" y="508"/>
                </a:lnTo>
                <a:lnTo>
                  <a:pt x="9" y="516"/>
                </a:lnTo>
                <a:lnTo>
                  <a:pt x="18" y="492"/>
                </a:lnTo>
                <a:lnTo>
                  <a:pt x="36" y="484"/>
                </a:lnTo>
                <a:lnTo>
                  <a:pt x="18" y="468"/>
                </a:lnTo>
                <a:lnTo>
                  <a:pt x="0" y="444"/>
                </a:lnTo>
                <a:lnTo>
                  <a:pt x="18" y="428"/>
                </a:lnTo>
                <a:lnTo>
                  <a:pt x="46" y="411"/>
                </a:lnTo>
                <a:lnTo>
                  <a:pt x="64" y="371"/>
                </a:lnTo>
                <a:lnTo>
                  <a:pt x="46" y="363"/>
                </a:lnTo>
                <a:lnTo>
                  <a:pt x="46" y="331"/>
                </a:lnTo>
                <a:lnTo>
                  <a:pt x="46" y="306"/>
                </a:lnTo>
                <a:lnTo>
                  <a:pt x="64" y="290"/>
                </a:lnTo>
                <a:lnTo>
                  <a:pt x="82" y="274"/>
                </a:lnTo>
                <a:lnTo>
                  <a:pt x="101" y="258"/>
                </a:lnTo>
                <a:lnTo>
                  <a:pt x="73" y="234"/>
                </a:lnTo>
                <a:lnTo>
                  <a:pt x="73" y="210"/>
                </a:lnTo>
                <a:lnTo>
                  <a:pt x="82" y="202"/>
                </a:lnTo>
                <a:lnTo>
                  <a:pt x="101" y="169"/>
                </a:lnTo>
                <a:lnTo>
                  <a:pt x="137" y="129"/>
                </a:lnTo>
                <a:lnTo>
                  <a:pt x="183" y="105"/>
                </a:lnTo>
                <a:lnTo>
                  <a:pt x="220" y="97"/>
                </a:lnTo>
                <a:lnTo>
                  <a:pt x="247" y="64"/>
                </a:lnTo>
                <a:lnTo>
                  <a:pt x="275" y="32"/>
                </a:lnTo>
                <a:lnTo>
                  <a:pt x="311" y="0"/>
                </a:lnTo>
                <a:lnTo>
                  <a:pt x="339" y="16"/>
                </a:lnTo>
                <a:lnTo>
                  <a:pt x="394" y="72"/>
                </a:lnTo>
                <a:lnTo>
                  <a:pt x="421" y="80"/>
                </a:lnTo>
                <a:lnTo>
                  <a:pt x="440" y="129"/>
                </a:lnTo>
                <a:lnTo>
                  <a:pt x="440" y="161"/>
                </a:lnTo>
                <a:lnTo>
                  <a:pt x="458" y="185"/>
                </a:lnTo>
                <a:lnTo>
                  <a:pt x="504" y="177"/>
                </a:lnTo>
                <a:lnTo>
                  <a:pt x="550" y="169"/>
                </a:lnTo>
                <a:lnTo>
                  <a:pt x="559" y="210"/>
                </a:lnTo>
                <a:lnTo>
                  <a:pt x="531" y="250"/>
                </a:lnTo>
                <a:lnTo>
                  <a:pt x="440" y="306"/>
                </a:lnTo>
                <a:lnTo>
                  <a:pt x="403" y="306"/>
                </a:lnTo>
                <a:lnTo>
                  <a:pt x="385" y="331"/>
                </a:lnTo>
                <a:lnTo>
                  <a:pt x="366" y="339"/>
                </a:lnTo>
                <a:lnTo>
                  <a:pt x="357" y="363"/>
                </a:lnTo>
                <a:lnTo>
                  <a:pt x="330" y="395"/>
                </a:lnTo>
                <a:lnTo>
                  <a:pt x="293" y="419"/>
                </a:lnTo>
                <a:lnTo>
                  <a:pt x="238" y="444"/>
                </a:lnTo>
                <a:lnTo>
                  <a:pt x="211" y="468"/>
                </a:lnTo>
                <a:lnTo>
                  <a:pt x="165" y="492"/>
                </a:lnTo>
                <a:lnTo>
                  <a:pt x="119" y="508"/>
                </a:lnTo>
                <a:lnTo>
                  <a:pt x="82" y="516"/>
                </a:lnTo>
                <a:lnTo>
                  <a:pt x="55" y="516"/>
                </a:lnTo>
                <a:close/>
              </a:path>
            </a:pathLst>
          </a:custGeom>
          <a:solidFill>
            <a:schemeClr val="hlink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26" tIns="46614" rIns="93226" bIns="46614" anchor="ctr"/>
          <a:lstStyle/>
          <a:p>
            <a:pPr>
              <a:buClr>
                <a:srgbClr val="000000"/>
              </a:buClr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55" name="Rectangle 120"/>
          <p:cNvSpPr>
            <a:spLocks noChangeArrowheads="1"/>
          </p:cNvSpPr>
          <p:nvPr>
            <p:custDataLst>
              <p:tags r:id="rId238"/>
            </p:custDataLst>
          </p:nvPr>
        </p:nvSpPr>
        <p:spPr bwMode="gray">
          <a:xfrm>
            <a:off x="7084065" y="3457605"/>
            <a:ext cx="509670" cy="124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Faisalabad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478" name="Rectangle 185"/>
          <p:cNvSpPr>
            <a:spLocks noChangeArrowheads="1"/>
          </p:cNvSpPr>
          <p:nvPr>
            <p:custDataLst>
              <p:tags r:id="rId239"/>
            </p:custDataLst>
          </p:nvPr>
        </p:nvSpPr>
        <p:spPr bwMode="gray">
          <a:xfrm>
            <a:off x="7607314" y="3274021"/>
            <a:ext cx="395104" cy="110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Nankana</a:t>
            </a:r>
            <a:endParaRPr lang="en-GB" sz="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Sahib 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253" name="Rectangle 182"/>
          <p:cNvSpPr>
            <a:spLocks noChangeArrowheads="1"/>
          </p:cNvSpPr>
          <p:nvPr>
            <p:custDataLst>
              <p:tags r:id="rId240"/>
            </p:custDataLst>
          </p:nvPr>
        </p:nvSpPr>
        <p:spPr bwMode="gray">
          <a:xfrm>
            <a:off x="6843834" y="2863303"/>
            <a:ext cx="453555" cy="12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>
                <a:solidFill>
                  <a:srgbClr val="000000"/>
                </a:solidFill>
              </a:rPr>
              <a:t>Sargodha</a:t>
            </a:r>
            <a:endParaRPr lang="en-GB" sz="2400" b="1" dirty="0">
              <a:solidFill>
                <a:srgbClr val="000000"/>
              </a:solidFill>
            </a:endParaRPr>
          </a:p>
        </p:txBody>
      </p:sp>
      <p:sp>
        <p:nvSpPr>
          <p:cNvPr id="254" name="Rectangle 191"/>
          <p:cNvSpPr>
            <a:spLocks noChangeArrowheads="1"/>
          </p:cNvSpPr>
          <p:nvPr>
            <p:custDataLst>
              <p:tags r:id="rId241"/>
            </p:custDataLst>
          </p:nvPr>
        </p:nvSpPr>
        <p:spPr bwMode="gray">
          <a:xfrm>
            <a:off x="5945736" y="2508993"/>
            <a:ext cx="40334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800" dirty="0" err="1">
                <a:solidFill>
                  <a:srgbClr val="000000"/>
                </a:solidFill>
              </a:rPr>
              <a:t>Mianwali</a:t>
            </a:r>
            <a:endParaRPr lang="en-GB" sz="2400" b="1" dirty="0">
              <a:solidFill>
                <a:srgbClr val="00000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79618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95006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" name="think-cell Slide" r:id="rId54" imgW="270" imgH="270" progId="TCLayout.ActiveDocument.1">
                  <p:embed/>
                </p:oleObj>
              </mc:Choice>
              <mc:Fallback>
                <p:oleObj name="think-cell Slide" r:id="rId5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4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0242" name="Slide Number Placeholder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>
            <a:lvl1pPr defTabSz="930947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7710" indent="-291428" defTabSz="930947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5708" indent="-233143" defTabSz="930947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31992" indent="-233143" defTabSz="930947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8276" indent="-233143" defTabSz="930947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4559" indent="-233143" defTabSz="930947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030842" indent="-233143" defTabSz="930947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7126" indent="-233143" defTabSz="930947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963408" indent="-233143" defTabSz="930947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C17EFD-2651-4DF9-901F-A65EEAEED93A}" type="slidenum">
              <a:rPr lang="en-GB" sz="1000">
                <a:solidFill>
                  <a:srgbClr val="898989"/>
                </a:solidFill>
                <a:latin typeface="Calibri" pitchFamily="34" charset="0"/>
              </a:rPr>
              <a:pPr eaLnBrk="1" hangingPunct="1"/>
              <a:t>27</a:t>
            </a:fld>
            <a:endParaRPr lang="en-GB" sz="10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0245" name="Slide Number Placeholder 1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76653" y="6606945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4" rIns="93246" bIns="46624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161735F-518F-482B-92F4-DE148CBFEEA7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7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10247" name="Group 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5621" y="886001"/>
            <a:ext cx="8552758" cy="5390564"/>
            <a:chOff x="114" y="674"/>
            <a:chExt cx="5280" cy="2822"/>
          </a:xfrm>
        </p:grpSpPr>
        <p:sp>
          <p:nvSpPr>
            <p:cNvPr id="10290" name="Rectangle 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114" y="674"/>
              <a:ext cx="5280" cy="282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10291" name="Rectangle 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114" y="674"/>
              <a:ext cx="5280" cy="29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10292" name="Rectangle 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173" y="715"/>
              <a:ext cx="4871" cy="23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folHlink"/>
                  </a:solidFill>
                </a:rPr>
                <a:t>Availability and functioning of facilities</a:t>
              </a:r>
            </a:p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rgbClr val="777777"/>
                  </a:solidFill>
                </a:rPr>
                <a:t>% functioning electricity, drinking water, toilet and boundary walls</a:t>
              </a:r>
            </a:p>
          </p:txBody>
        </p:sp>
      </p:grpSp>
      <p:sp>
        <p:nvSpPr>
          <p:cNvPr id="10248" name="Rectangle 8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 bwMode="gray">
          <a:xfrm>
            <a:off x="121489" y="234863"/>
            <a:ext cx="8549518" cy="376834"/>
          </a:xfrm>
        </p:spPr>
        <p:txBody>
          <a:bodyPr/>
          <a:lstStyle/>
          <a:p>
            <a:r>
              <a:rPr lang="en-US" sz="2400" dirty="0"/>
              <a:t>Facilities is at a new high, 1.1% short of the 2013 target</a:t>
            </a:r>
            <a:endParaRPr lang="en-GB" sz="2400" dirty="0"/>
          </a:p>
        </p:txBody>
      </p:sp>
      <p:grpSp>
        <p:nvGrpSpPr>
          <p:cNvPr id="10281" name="Group 6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391895" y="1606738"/>
            <a:ext cx="2292075" cy="220285"/>
            <a:chOff x="3870" y="770"/>
            <a:chExt cx="1415" cy="136"/>
          </a:xfrm>
        </p:grpSpPr>
        <p:sp>
          <p:nvSpPr>
            <p:cNvPr id="10288" name="Line 61"/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gray">
            <a:xfrm>
              <a:off x="3870" y="844"/>
              <a:ext cx="501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289" name="McK 3. Unit of measure"/>
            <p:cNvSpPr txBox="1"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4473" y="770"/>
              <a:ext cx="812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400">
                  <a:solidFill>
                    <a:srgbClr val="808080"/>
                  </a:solidFill>
                </a:rPr>
                <a:t>Target trajectory</a:t>
              </a:r>
            </a:p>
          </p:txBody>
        </p:sp>
      </p:grpSp>
      <p:sp>
        <p:nvSpPr>
          <p:cNvPr id="10284" name="McK 5. Source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9654" y="6684688"/>
            <a:ext cx="700257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712" indent="-621712" defTabSz="913138">
              <a:spcBef>
                <a:spcPct val="0"/>
              </a:spcBef>
              <a:spcAft>
                <a:spcPct val="0"/>
              </a:spcAft>
              <a:tabLst>
                <a:tab pos="624949" algn="l"/>
              </a:tabLst>
            </a:pPr>
            <a:r>
              <a:rPr lang="en-GB" sz="800">
                <a:solidFill>
                  <a:srgbClr val="000000"/>
                </a:solidFill>
              </a:rPr>
              <a:t>SOURCE: PMIU</a:t>
            </a:r>
          </a:p>
        </p:txBody>
      </p:sp>
      <p:graphicFrame>
        <p:nvGraphicFramePr>
          <p:cNvPr id="74" name="Object 9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02126526"/>
              </p:ext>
            </p:extLst>
          </p:nvPr>
        </p:nvGraphicFramePr>
        <p:xfrm>
          <a:off x="354013" y="2347913"/>
          <a:ext cx="8437562" cy="305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Chart" r:id="rId56" imgW="8267700" imgH="2997200" progId="MSGraph.Chart.8">
                  <p:embed followColorScheme="full"/>
                </p:oleObj>
              </mc:Choice>
              <mc:Fallback>
                <p:oleObj name="Chart" r:id="rId56" imgW="8267700" imgH="29972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54013" y="2347913"/>
                        <a:ext cx="8437562" cy="3059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" name="Freeform 10"/>
          <p:cNvSpPr/>
          <p:nvPr>
            <p:custDataLst>
              <p:tags r:id="rId12"/>
            </p:custDataLst>
          </p:nvPr>
        </p:nvSpPr>
        <p:spPr bwMode="auto">
          <a:xfrm>
            <a:off x="487573" y="4831700"/>
            <a:ext cx="8170476" cy="80988"/>
          </a:xfrm>
          <a:custGeom>
            <a:avLst/>
            <a:gdLst/>
            <a:ahLst/>
            <a:cxnLst/>
            <a:rect l="0" t="0" r="0" b="0"/>
            <a:pathLst>
              <a:path w="80073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256" tIns="121161" rIns="93256" bIns="1211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523" indent="-195905" defTabSz="913138" fontAlgn="base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endParaRPr lang="en-GB" sz="2000">
              <a:latin typeface="Arial" charset="0"/>
            </a:endParaRPr>
          </a:p>
        </p:txBody>
      </p:sp>
      <p:sp>
        <p:nvSpPr>
          <p:cNvPr id="10" name="Freeform 9"/>
          <p:cNvSpPr/>
          <p:nvPr>
            <p:custDataLst>
              <p:tags r:id="rId13"/>
            </p:custDataLst>
          </p:nvPr>
        </p:nvSpPr>
        <p:spPr bwMode="auto">
          <a:xfrm>
            <a:off x="487573" y="4890015"/>
            <a:ext cx="8170476" cy="22677"/>
          </a:xfrm>
          <a:custGeom>
            <a:avLst/>
            <a:gdLst/>
            <a:ahLst/>
            <a:cxnLst/>
            <a:rect l="0" t="0" r="0" b="0"/>
            <a:pathLst>
              <a:path w="80073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256" tIns="121161" rIns="93256" bIns="1211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523" indent="-195905" defTabSz="913138" fontAlgn="base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endParaRPr lang="en-GB" sz="2000"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14"/>
            </p:custDataLst>
          </p:nvPr>
        </p:nvSpPr>
        <p:spPr bwMode="auto">
          <a:xfrm>
            <a:off x="487573" y="4831704"/>
            <a:ext cx="8170476" cy="22677"/>
          </a:xfrm>
          <a:custGeom>
            <a:avLst/>
            <a:gdLst/>
            <a:ahLst/>
            <a:cxnLst/>
            <a:rect l="0" t="0" r="0" b="0"/>
            <a:pathLst>
              <a:path w="80073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256" tIns="121161" rIns="93256" bIns="121161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523" indent="-195905" defTabSz="913138" fontAlgn="base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endParaRPr lang="en-GB" sz="2000">
              <a:latin typeface="Arial" charset="0"/>
            </a:endParaRPr>
          </a:p>
        </p:txBody>
      </p:sp>
      <p:sp>
        <p:nvSpPr>
          <p:cNvPr id="142" name="Rectangle 24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178575" y="534677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None/>
            </a:pPr>
            <a:r>
              <a:rPr lang="en-US" sz="1400">
                <a:latin typeface="Arial"/>
                <a:cs typeface="Arial"/>
                <a:sym typeface="Arial"/>
              </a:rPr>
              <a:t>Dec.</a:t>
            </a:r>
          </a:p>
          <a:p>
            <a:pPr>
              <a:buNone/>
            </a:pPr>
            <a:r>
              <a:rPr lang="en-US" sz="1400">
                <a:latin typeface="Arial"/>
                <a:cs typeface="Arial"/>
                <a:sym typeface="Arial"/>
              </a:rPr>
              <a:t>2012</a:t>
            </a:r>
          </a:p>
        </p:txBody>
      </p:sp>
      <p:sp>
        <p:nvSpPr>
          <p:cNvPr id="148" name="Rectangle 24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189918" y="2230394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9C060531-6317-448D-87BB-588DD5175E6E}" type="datetime'''''''''''''''''''''''''''''9''''0''''''''.9'''''">
              <a:rPr lang="en-US" sz="1400">
                <a:cs typeface="Arial"/>
              </a:rPr>
              <a:pPr/>
              <a:t>90.9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49" name="Rectangle 19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585718" y="5346777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None/>
            </a:pPr>
            <a:r>
              <a:rPr lang="en-US" sz="1400">
                <a:latin typeface="Arial"/>
                <a:cs typeface="Arial"/>
                <a:sym typeface="Arial"/>
              </a:rPr>
              <a:t>Nov.</a:t>
            </a:r>
          </a:p>
          <a:p>
            <a:pPr>
              <a:buNone/>
            </a:pPr>
            <a:r>
              <a:rPr lang="en-US" sz="1400">
                <a:latin typeface="Arial"/>
                <a:cs typeface="Arial"/>
                <a:sym typeface="Arial"/>
              </a:rPr>
              <a:t>2012</a:t>
            </a:r>
            <a:endParaRPr lang="en-US" sz="1400" dirty="0">
              <a:latin typeface="Arial"/>
              <a:cs typeface="Arial"/>
              <a:sym typeface="Arial"/>
            </a:endParaRPr>
          </a:p>
        </p:txBody>
      </p:sp>
      <p:sp>
        <p:nvSpPr>
          <p:cNvPr id="174" name="Rectangle 14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073904" y="2764910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E2F3706F-9CBD-45E1-83D8-4E601119ABCD}" type="datetime'8''''''5''''''''''''''''''''''.''''''''''''''2'''''">
              <a:rPr lang="en-US" sz="1400">
                <a:cs typeface="Arial"/>
              </a:rPr>
              <a:pPr/>
              <a:t>85.2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71" name="Rectangle 4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474558" y="534677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Jan.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2</a:t>
            </a:r>
          </a:p>
        </p:txBody>
      </p:sp>
      <p:sp>
        <p:nvSpPr>
          <p:cNvPr id="168" name="Rectangle 139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485901" y="2832939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6738CF70-9CFE-4DBA-B12C-C709EAAAE95C}" type="datetime'''''''''''8''''''''''4''''''.''''''''''''''''4'''''''''''">
              <a:rPr lang="en-US" sz="1400">
                <a:cs typeface="Arial"/>
              </a:rPr>
              <a:pPr/>
              <a:t>84.4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65" name="Rectangle 42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881697" y="534677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Dec.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1</a:t>
            </a:r>
          </a:p>
        </p:txBody>
      </p:sp>
      <p:sp>
        <p:nvSpPr>
          <p:cNvPr id="162" name="Rectangle 1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897895" y="2920401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A5FD9023-A2E0-4856-AB78-FDD93C3BB4D1}" type="datetime'''''''''''''''''''''''8''''''''''''''''''3''''''''''.5'''''''">
              <a:rPr lang="en-US" sz="1400">
                <a:cs typeface="Arial"/>
              </a:rPr>
              <a:pPr/>
              <a:t>83.5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72" name="Rectangle 44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298554" y="534677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Nov.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1</a:t>
            </a:r>
          </a:p>
        </p:txBody>
      </p:sp>
      <p:sp>
        <p:nvSpPr>
          <p:cNvPr id="166" name="Rectangle 137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309897" y="3143930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257E0989-EDEB-4E3A-A578-5F4E454CCCEC}" type="datetime'''''8''''''''''''''1''''''''''''.''''''0'''''''">
              <a:rPr lang="en-US" sz="1400">
                <a:cs typeface="Arial"/>
              </a:rPr>
              <a:pPr/>
              <a:t>81.0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63" name="Rectangle 4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705693" y="534677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Oct.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1</a:t>
            </a:r>
          </a:p>
        </p:txBody>
      </p:sp>
      <p:sp>
        <p:nvSpPr>
          <p:cNvPr id="175" name="Rectangle 13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721891" y="3406329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1180CFBD-CCC3-43F7-A0A3-A2481D87ABD7}" type="datetime'''7''''''8''''''''.''''''''''2'''">
              <a:rPr lang="en-US" sz="1400">
                <a:cs typeface="Arial"/>
              </a:rPr>
              <a:pPr/>
              <a:t>78.2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69" name="Rectangle 48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122550" y="534677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Sep.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1</a:t>
            </a:r>
          </a:p>
        </p:txBody>
      </p:sp>
      <p:sp>
        <p:nvSpPr>
          <p:cNvPr id="173" name="Rectangle 135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133893" y="3688160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1A720948-5B26-4843-B6B4-D700B8689356}" type="datetime'''''''''7''5''''''''''''''''''''''''''''''''.''1'''''''">
              <a:rPr lang="en-US" sz="1400">
                <a:cs typeface="Arial"/>
              </a:rPr>
              <a:pPr/>
              <a:t>75.1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70" name="Rectangle 50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529693" y="5346777"/>
            <a:ext cx="42601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Arial"/>
              </a:rPr>
              <a:t>Base</a:t>
            </a:r>
          </a:p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Arial"/>
                <a:cs typeface="Arial"/>
                <a:sym typeface="Arial"/>
              </a:rPr>
              <a:t>line</a:t>
            </a:r>
          </a:p>
        </p:txBody>
      </p:sp>
      <p:sp>
        <p:nvSpPr>
          <p:cNvPr id="167" name="Rectangle 196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601912" y="2278982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BE74267C-2D69-46D0-82F5-E9F3E6E27ADD}" type="datetime'''''''''''''''''''''''9''''''0''''''''''''.4'''''''''''''">
              <a:rPr lang="en-US" sz="1400">
                <a:cs typeface="Arial"/>
              </a:rPr>
              <a:pPr/>
              <a:t>90.4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50" name="Rectangle 28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002572" y="534677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None/>
            </a:pPr>
            <a:r>
              <a:rPr lang="en-US" sz="1400">
                <a:latin typeface="Arial"/>
                <a:cs typeface="Arial"/>
                <a:sym typeface="Arial"/>
              </a:rPr>
              <a:t>Oct.</a:t>
            </a:r>
          </a:p>
          <a:p>
            <a:pPr>
              <a:buNone/>
            </a:pPr>
            <a:r>
              <a:rPr lang="en-GB" sz="1400">
                <a:latin typeface="Arial"/>
                <a:cs typeface="Arial"/>
                <a:sym typeface="Arial"/>
              </a:rPr>
              <a:t>2012</a:t>
            </a:r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51" name="Rectangle 28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013909" y="2376171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AC450BD6-076F-4564-91BD-B50A26A47F4F}" type="datetime'8''''''''''''''''''9''''''''.''''''''''4'''''''''''''''''''''">
              <a:rPr lang="en-US" sz="1400">
                <a:cs typeface="Arial"/>
              </a:rPr>
              <a:pPr/>
              <a:t>89.4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52" name="Rectangle 286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409709" y="5346778"/>
            <a:ext cx="435738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Sept. 2012</a:t>
            </a:r>
          </a:p>
        </p:txBody>
      </p:sp>
      <p:sp>
        <p:nvSpPr>
          <p:cNvPr id="153" name="Rectangle 143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425912" y="2347011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2D2F240C-88CC-4684-BEA8-137DAB7CF24F}" type="datetime'''''''''8''''''''9''.''''''''''''7'''''''''''''''''">
              <a:rPr lang="en-US" sz="1400">
                <a:cs typeface="Arial"/>
              </a:rPr>
              <a:pPr/>
              <a:t>89.7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54" name="Rectangle 47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826571" y="534677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May 2012</a:t>
            </a:r>
          </a:p>
        </p:txBody>
      </p:sp>
      <p:sp useBgFill="1">
        <p:nvSpPr>
          <p:cNvPr id="156" name="Rectangle 52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5837905" y="2521948"/>
            <a:ext cx="396861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67" tIns="0" rIns="22667" bIns="0" anchor="b">
            <a:noAutofit/>
          </a:bodyPr>
          <a:lstStyle/>
          <a:p>
            <a:pPr algn="ctr" defTabSz="913138">
              <a:spcBef>
                <a:spcPct val="0"/>
              </a:spcBef>
              <a:spcAft>
                <a:spcPct val="0"/>
              </a:spcAft>
            </a:pPr>
            <a:fld id="{AD6D04B8-3162-4218-9CC2-28CA2D0DD955}" type="datetime'''''''''''''''''''''''8''''''''''''7''''''.8'''''''''''">
              <a:rPr lang="en-US" sz="1400">
                <a:cs typeface="Arial"/>
              </a:rPr>
              <a:pPr algn="ctr" defTabSz="913138">
                <a:spcBef>
                  <a:spcPct val="0"/>
                </a:spcBef>
                <a:spcAft>
                  <a:spcPct val="0"/>
                </a:spcAft>
              </a:pPr>
              <a:t>87.8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57" name="Rectangle 53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233705" y="534677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Apr. 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2</a:t>
            </a:r>
          </a:p>
        </p:txBody>
      </p:sp>
      <p:sp>
        <p:nvSpPr>
          <p:cNvPr id="158" name="Rectangle 142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5249908" y="2599696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F4534236-176D-4358-9457-63CA998461FA}" type="datetime'''''''''''''''''''''''''8''''''''7''''''''''''''.0'''''''">
              <a:rPr lang="en-US" sz="1400">
                <a:cs typeface="Arial"/>
              </a:rPr>
              <a:pPr/>
              <a:t>87.0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59" name="Rectangle 55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4650567" y="534677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Mar. 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2</a:t>
            </a:r>
          </a:p>
        </p:txBody>
      </p:sp>
      <p:sp>
        <p:nvSpPr>
          <p:cNvPr id="160" name="Rectangle 141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4661901" y="2677439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2FC2ECD0-CDC3-4D8F-97F5-B750464C5F33}" type="datetime'''''''''8''''''''''''6''''''''''''''''''''''''''.1'''''''''''">
              <a:rPr lang="en-US" sz="1400">
                <a:cs typeface="Arial"/>
              </a:rPr>
              <a:pPr/>
              <a:t>86.1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61" name="Rectangle 57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057702" y="534677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913138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Arial"/>
                <a:cs typeface="Arial"/>
                <a:sym typeface="Arial"/>
              </a:rPr>
              <a:t>Feb.</a:t>
            </a:r>
            <a:br>
              <a:rPr lang="en-US" sz="1400">
                <a:latin typeface="Arial"/>
                <a:cs typeface="Arial"/>
                <a:sym typeface="Arial"/>
              </a:rPr>
            </a:br>
            <a:r>
              <a:rPr lang="en-US" sz="1400">
                <a:latin typeface="Arial"/>
                <a:cs typeface="Arial"/>
                <a:sym typeface="Arial"/>
              </a:rPr>
              <a:t>2012</a:t>
            </a:r>
          </a:p>
        </p:txBody>
      </p:sp>
      <p:sp useBgFill="1">
        <p:nvSpPr>
          <p:cNvPr id="164" name="Rectangle 134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45889" y="4251831"/>
            <a:ext cx="396861" cy="217046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7" tIns="0" rIns="22667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1C2C3CB8-920E-4DB3-8D40-E287797E1B1D}" type="datetime'''''''''6''''''''''''''''''''''''''8''''''''.''''''9'">
              <a:rPr lang="en-US" sz="1400">
                <a:cs typeface="Arial"/>
              </a:rPr>
              <a:pPr/>
              <a:t>68.9</a:t>
            </a:fld>
            <a:endParaRPr lang="en-US" sz="1400">
              <a:latin typeface="Arial"/>
              <a:cs typeface="Arial"/>
              <a:sym typeface="Arial"/>
            </a:endParaRPr>
          </a:p>
        </p:txBody>
      </p:sp>
      <p:grpSp>
        <p:nvGrpSpPr>
          <p:cNvPr id="53" name="Group 52"/>
          <p:cNvGrpSpPr/>
          <p:nvPr>
            <p:custDataLst>
              <p:tags r:id="rId43"/>
            </p:custDataLst>
          </p:nvPr>
        </p:nvGrpSpPr>
        <p:grpSpPr>
          <a:xfrm>
            <a:off x="3377197" y="6074044"/>
            <a:ext cx="2389608" cy="458388"/>
            <a:chOff x="2455864" y="5953125"/>
            <a:chExt cx="2101850" cy="449263"/>
          </a:xfrm>
        </p:grpSpPr>
        <p:sp>
          <p:nvSpPr>
            <p:cNvPr id="54" name="Rectangle 6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2455864" y="5953125"/>
              <a:ext cx="2101850" cy="449263"/>
            </a:xfrm>
            <a:prstGeom prst="rect">
              <a:avLst/>
            </a:prstGeom>
            <a:solidFill>
              <a:schemeClr val="folHlink"/>
            </a:solidFill>
            <a:ln w="1905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55" name="Rectangle 66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2544758" y="6069242"/>
              <a:ext cx="149046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bg1"/>
                  </a:solidFill>
                </a:rPr>
                <a:t>March 2013 target:</a:t>
              </a:r>
            </a:p>
          </p:txBody>
        </p:sp>
        <p:sp>
          <p:nvSpPr>
            <p:cNvPr id="56" name="Rectangle 67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3946327" y="6069013"/>
              <a:ext cx="522073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r" defTabSz="913138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bg1"/>
                  </a:solidFill>
                </a:rPr>
                <a:t>92%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7314174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2391720"/>
            <a:ext cx="860807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Around 3,000,000 children have benefited from these additional facilities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613643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146640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4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10242" name="Slide Number Placeholder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>
            <a:lvl1pPr defTabSz="930749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57549" indent="-291366" defTabSz="930749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65461" indent="-233094" defTabSz="930749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31646" indent="-233094" defTabSz="930749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97831" indent="-233094" defTabSz="930749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64015" indent="-233094" defTabSz="930749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030200" indent="-233094" defTabSz="930749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96384" indent="-233094" defTabSz="930749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962568" indent="-233094" defTabSz="930749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C17EFD-2651-4DF9-901F-A65EEAEED93A}" type="slidenum">
              <a:rPr lang="en-GB" sz="1000">
                <a:solidFill>
                  <a:srgbClr val="898989"/>
                </a:solidFill>
                <a:latin typeface="Calibri" pitchFamily="34" charset="0"/>
              </a:rPr>
              <a:pPr eaLnBrk="1" hangingPunct="1"/>
              <a:t>29</a:t>
            </a:fld>
            <a:endParaRPr lang="en-GB" sz="10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0245" name="Slide Number Placeholder 1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76653" y="6606947"/>
            <a:ext cx="2177066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26" tIns="46615" rIns="93226" bIns="46615" anchor="ctr"/>
          <a:lstStyle>
            <a:lvl1pPr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161735F-518F-482B-92F4-DE148CBFEEA7}" type="slidenum">
              <a:rPr lang="en-GB" sz="1000">
                <a:solidFill>
                  <a:srgbClr val="898989"/>
                </a:solidFill>
                <a:latin typeface="Calibri" pitchFamily="34" charset="0"/>
                <a:cs typeface="Arial" charset="0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9</a:t>
            </a:fld>
            <a:endParaRPr lang="en-GB" sz="1000">
              <a:solidFill>
                <a:srgbClr val="898989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10247" name="Group 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5621" y="886001"/>
            <a:ext cx="8552758" cy="5390564"/>
            <a:chOff x="114" y="674"/>
            <a:chExt cx="5280" cy="2822"/>
          </a:xfrm>
        </p:grpSpPr>
        <p:sp>
          <p:nvSpPr>
            <p:cNvPr id="10290" name="Rectangle 5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114" y="674"/>
              <a:ext cx="5280" cy="282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10291" name="Rectangle 6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114" y="674"/>
              <a:ext cx="5280" cy="29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10292" name="Rectangle 7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173" y="715"/>
              <a:ext cx="4871" cy="23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944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folHlink"/>
                  </a:solidFill>
                </a:rPr>
                <a:t>Teacher presence</a:t>
              </a:r>
            </a:p>
            <a:p>
              <a:pPr defTabSz="912944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777777"/>
                  </a:solidFill>
                </a:rPr>
                <a:t>% of teachers present at time of inspection</a:t>
              </a:r>
              <a:endParaRPr lang="en-GB" sz="1400" b="1" dirty="0">
                <a:solidFill>
                  <a:srgbClr val="777777"/>
                </a:solidFill>
              </a:endParaRPr>
            </a:p>
          </p:txBody>
        </p:sp>
      </p:grpSp>
      <p:sp>
        <p:nvSpPr>
          <p:cNvPr id="10248" name="Rectangle 8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 bwMode="gray">
          <a:xfrm>
            <a:off x="121489" y="234863"/>
            <a:ext cx="8549518" cy="376834"/>
          </a:xfrm>
        </p:spPr>
        <p:txBody>
          <a:bodyPr/>
          <a:lstStyle/>
          <a:p>
            <a:r>
              <a:rPr lang="en-US" sz="2400" dirty="0"/>
              <a:t>Teacher presence is at a new high, above the 2013 target</a:t>
            </a:r>
            <a:endParaRPr lang="en-GB" sz="2400" dirty="0"/>
          </a:p>
        </p:txBody>
      </p:sp>
      <p:grpSp>
        <p:nvGrpSpPr>
          <p:cNvPr id="10281" name="Group 6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391897" y="1606738"/>
            <a:ext cx="2292075" cy="220285"/>
            <a:chOff x="3870" y="770"/>
            <a:chExt cx="1415" cy="136"/>
          </a:xfrm>
        </p:grpSpPr>
        <p:sp>
          <p:nvSpPr>
            <p:cNvPr id="10288" name="Line 61"/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gray">
            <a:xfrm>
              <a:off x="3870" y="844"/>
              <a:ext cx="501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289" name="McK 3. Unit of measure"/>
            <p:cNvSpPr txBox="1"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4473" y="770"/>
              <a:ext cx="812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400">
                  <a:solidFill>
                    <a:srgbClr val="808080"/>
                  </a:solidFill>
                </a:rPr>
                <a:t>Target trajectory</a:t>
              </a:r>
            </a:p>
          </p:txBody>
        </p:sp>
      </p:grpSp>
      <p:sp>
        <p:nvSpPr>
          <p:cNvPr id="10284" name="McK 5. Source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9654" y="6684688"/>
            <a:ext cx="700257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580" indent="-621580" defTabSz="912944">
              <a:spcBef>
                <a:spcPct val="0"/>
              </a:spcBef>
              <a:spcAft>
                <a:spcPct val="0"/>
              </a:spcAft>
              <a:tabLst>
                <a:tab pos="624816" algn="l"/>
              </a:tabLst>
            </a:pPr>
            <a:r>
              <a:rPr lang="en-GB" sz="800">
                <a:solidFill>
                  <a:srgbClr val="000000"/>
                </a:solidFill>
              </a:rPr>
              <a:t>SOURCE: PMIU</a:t>
            </a:r>
          </a:p>
        </p:txBody>
      </p:sp>
      <p:graphicFrame>
        <p:nvGraphicFramePr>
          <p:cNvPr id="56" name="Object 9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030833"/>
              </p:ext>
            </p:extLst>
          </p:nvPr>
        </p:nvGraphicFramePr>
        <p:xfrm>
          <a:off x="328613" y="2105025"/>
          <a:ext cx="8488362" cy="3498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Chart" r:id="rId75" imgW="8318500" imgH="3429000" progId="MSGraph.Chart.8">
                  <p:embed followColorScheme="full"/>
                </p:oleObj>
              </mc:Choice>
              <mc:Fallback>
                <p:oleObj name="Chart" r:id="rId75" imgW="8318500" imgH="34290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6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28613" y="2105025"/>
                        <a:ext cx="8488362" cy="3498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Straight Connector 71"/>
          <p:cNvCxnSpPr/>
          <p:nvPr>
            <p:custDataLst>
              <p:tags r:id="rId12"/>
            </p:custDataLst>
          </p:nvPr>
        </p:nvCxnSpPr>
        <p:spPr bwMode="white">
          <a:xfrm>
            <a:off x="8188294" y="2426378"/>
            <a:ext cx="427638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0" name="Straight Connector 59"/>
          <p:cNvCxnSpPr/>
          <p:nvPr>
            <p:custDataLst>
              <p:tags r:id="rId13"/>
            </p:custDataLst>
          </p:nvPr>
        </p:nvCxnSpPr>
        <p:spPr bwMode="auto">
          <a:xfrm>
            <a:off x="8615932" y="2202860"/>
            <a:ext cx="0" cy="22352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9" name="Straight Connector 68"/>
          <p:cNvCxnSpPr/>
          <p:nvPr>
            <p:custDataLst>
              <p:tags r:id="rId14"/>
            </p:custDataLst>
          </p:nvPr>
        </p:nvCxnSpPr>
        <p:spPr bwMode="auto">
          <a:xfrm>
            <a:off x="7595433" y="2591591"/>
            <a:ext cx="0" cy="213806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58" name="Straight Connector 57"/>
          <p:cNvCxnSpPr/>
          <p:nvPr>
            <p:custDataLst>
              <p:tags r:id="rId15"/>
            </p:custDataLst>
          </p:nvPr>
        </p:nvCxnSpPr>
        <p:spPr bwMode="auto">
          <a:xfrm>
            <a:off x="8188294" y="2202853"/>
            <a:ext cx="42763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8" name="Straight Connector 67"/>
          <p:cNvCxnSpPr/>
          <p:nvPr>
            <p:custDataLst>
              <p:tags r:id="rId16"/>
            </p:custDataLst>
          </p:nvPr>
        </p:nvCxnSpPr>
        <p:spPr bwMode="white">
          <a:xfrm>
            <a:off x="7595432" y="2805398"/>
            <a:ext cx="427638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70" name="Straight Connector 69"/>
          <p:cNvCxnSpPr/>
          <p:nvPr>
            <p:custDataLst>
              <p:tags r:id="rId17"/>
            </p:custDataLst>
          </p:nvPr>
        </p:nvCxnSpPr>
        <p:spPr bwMode="auto">
          <a:xfrm>
            <a:off x="8023070" y="2591591"/>
            <a:ext cx="0" cy="213806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59" name="Straight Connector 58"/>
          <p:cNvCxnSpPr/>
          <p:nvPr>
            <p:custDataLst>
              <p:tags r:id="rId18"/>
            </p:custDataLst>
          </p:nvPr>
        </p:nvCxnSpPr>
        <p:spPr bwMode="auto">
          <a:xfrm>
            <a:off x="4047982" y="3466254"/>
            <a:ext cx="4276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7" name="Straight Connector 66"/>
          <p:cNvCxnSpPr/>
          <p:nvPr>
            <p:custDataLst>
              <p:tags r:id="rId19"/>
            </p:custDataLst>
          </p:nvPr>
        </p:nvCxnSpPr>
        <p:spPr bwMode="auto">
          <a:xfrm>
            <a:off x="8188294" y="2202860"/>
            <a:ext cx="0" cy="22352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>
            <p:custDataLst>
              <p:tags r:id="rId20"/>
            </p:custDataLst>
          </p:nvPr>
        </p:nvCxnSpPr>
        <p:spPr bwMode="auto">
          <a:xfrm>
            <a:off x="5068481" y="3194144"/>
            <a:ext cx="0" cy="105931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71" name="Straight Connector 70"/>
          <p:cNvCxnSpPr/>
          <p:nvPr>
            <p:custDataLst>
              <p:tags r:id="rId21"/>
            </p:custDataLst>
          </p:nvPr>
        </p:nvCxnSpPr>
        <p:spPr bwMode="auto">
          <a:xfrm>
            <a:off x="7595432" y="2591592"/>
            <a:ext cx="42763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57" name="Straight Connector 56"/>
          <p:cNvCxnSpPr/>
          <p:nvPr>
            <p:custDataLst>
              <p:tags r:id="rId22"/>
            </p:custDataLst>
          </p:nvPr>
        </p:nvCxnSpPr>
        <p:spPr bwMode="gray">
          <a:xfrm>
            <a:off x="4640843" y="4253450"/>
            <a:ext cx="427638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>
            <p:custDataLst>
              <p:tags r:id="rId23"/>
            </p:custDataLst>
          </p:nvPr>
        </p:nvCxnSpPr>
        <p:spPr bwMode="auto">
          <a:xfrm>
            <a:off x="4640843" y="3194144"/>
            <a:ext cx="0" cy="105931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>
            <p:custDataLst>
              <p:tags r:id="rId24"/>
            </p:custDataLst>
          </p:nvPr>
        </p:nvCxnSpPr>
        <p:spPr bwMode="auto">
          <a:xfrm>
            <a:off x="4640843" y="3194137"/>
            <a:ext cx="4276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4" name="Straight Connector 63"/>
          <p:cNvCxnSpPr/>
          <p:nvPr>
            <p:custDataLst>
              <p:tags r:id="rId25"/>
            </p:custDataLst>
          </p:nvPr>
        </p:nvCxnSpPr>
        <p:spPr bwMode="gray">
          <a:xfrm>
            <a:off x="4047982" y="3689779"/>
            <a:ext cx="427638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>
            <p:custDataLst>
              <p:tags r:id="rId26"/>
            </p:custDataLst>
          </p:nvPr>
        </p:nvCxnSpPr>
        <p:spPr bwMode="auto">
          <a:xfrm>
            <a:off x="4475620" y="3466261"/>
            <a:ext cx="0" cy="2235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6" name="Straight Connector 65"/>
          <p:cNvCxnSpPr/>
          <p:nvPr>
            <p:custDataLst>
              <p:tags r:id="rId27"/>
            </p:custDataLst>
          </p:nvPr>
        </p:nvCxnSpPr>
        <p:spPr bwMode="auto">
          <a:xfrm>
            <a:off x="4047982" y="3466261"/>
            <a:ext cx="0" cy="2235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</p:cxnSp>
      <p:sp useBgFill="1">
        <p:nvSpPr>
          <p:cNvPr id="9" name="Freeform 8"/>
          <p:cNvSpPr/>
          <p:nvPr>
            <p:custDataLst>
              <p:tags r:id="rId28"/>
            </p:custDataLst>
          </p:nvPr>
        </p:nvSpPr>
        <p:spPr bwMode="auto">
          <a:xfrm>
            <a:off x="445457" y="4966138"/>
            <a:ext cx="8254708" cy="80988"/>
          </a:xfrm>
          <a:custGeom>
            <a:avLst/>
            <a:gdLst/>
            <a:ahLst/>
            <a:cxnLst/>
            <a:rect l="0" t="0" r="0" b="0"/>
            <a:pathLst>
              <a:path w="80899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236" tIns="121135" rIns="93236" bIns="121135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482" indent="-195863" defTabSz="912944" fontAlgn="base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endParaRPr lang="en-GB" sz="2000">
              <a:latin typeface="Arial" charset="0"/>
            </a:endParaRPr>
          </a:p>
        </p:txBody>
      </p:sp>
      <p:sp>
        <p:nvSpPr>
          <p:cNvPr id="7" name="Freeform 6"/>
          <p:cNvSpPr/>
          <p:nvPr>
            <p:custDataLst>
              <p:tags r:id="rId29"/>
            </p:custDataLst>
          </p:nvPr>
        </p:nvSpPr>
        <p:spPr bwMode="auto">
          <a:xfrm>
            <a:off x="445457" y="4966138"/>
            <a:ext cx="8254708" cy="22677"/>
          </a:xfrm>
          <a:custGeom>
            <a:avLst/>
            <a:gdLst/>
            <a:ahLst/>
            <a:cxnLst/>
            <a:rect l="0" t="0" r="0" b="0"/>
            <a:pathLst>
              <a:path w="80899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236" tIns="121135" rIns="93236" bIns="121135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482" indent="-195863" defTabSz="912944" fontAlgn="base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endParaRPr lang="en-GB" sz="2000"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30"/>
            </p:custDataLst>
          </p:nvPr>
        </p:nvSpPr>
        <p:spPr bwMode="auto">
          <a:xfrm>
            <a:off x="445457" y="5024450"/>
            <a:ext cx="8254708" cy="22677"/>
          </a:xfrm>
          <a:custGeom>
            <a:avLst/>
            <a:gdLst/>
            <a:ahLst/>
            <a:cxnLst/>
            <a:rect l="0" t="0" r="0" b="0"/>
            <a:pathLst>
              <a:path w="80899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93236" tIns="121135" rIns="93236" bIns="121135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7482" indent="-195863" defTabSz="912944" fontAlgn="base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endParaRPr lang="en-GB" sz="2000">
              <a:latin typeface="Arial" charset="0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7611631" y="2348637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3FD6C557-CB5E-4545-853B-58EFF838ACB3}" type="datetime'''''''9''''''''''0''''.''''2'''''''">
              <a:rPr lang="en-US" sz="1400">
                <a:cs typeface="Arial"/>
              </a:rPr>
              <a:pPr marL="0" indent="0" algn="ctr"/>
              <a:t>90.2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33" name="Rectangle 13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611631" y="4008876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58D9276C-9E05-491D-8319-68AF56AFF102}" type="datetime'''''''8''9''''''''''''''.''2'''''''''''''">
              <a:rPr lang="en-US" sz="1400">
                <a:cs typeface="Arial"/>
              </a:rPr>
              <a:pPr marL="0" indent="0" algn="ctr"/>
              <a:t>89.2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18" name="Rectangle 286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009050" y="553304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r>
              <a:rPr lang="en-US" sz="1400">
                <a:cs typeface="Arial" charset="0"/>
              </a:rPr>
              <a:t>Oct.</a:t>
            </a:r>
          </a:p>
          <a:p>
            <a:pPr algn="ctr">
              <a:buNone/>
            </a:pPr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018776" y="2970619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6473A4B6-AD58-48B9-8014-DEFF6E490B10}" type="datetime'''''''''''''''''''''''''8''7''''''''''''.''2'''''''''''''">
              <a:rPr lang="en-US" sz="1400">
                <a:cs typeface="Arial"/>
              </a:rPr>
              <a:pPr marL="0" indent="0" algn="ctr"/>
              <a:t>87.2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34" name="Rectangle 142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194780" y="553304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r>
              <a:rPr lang="en-US" sz="1400">
                <a:cs typeface="Arial" charset="0"/>
              </a:rPr>
              <a:t>Dec.</a:t>
            </a:r>
          </a:p>
          <a:p>
            <a:pPr algn="ctr">
              <a:buNone/>
            </a:pPr>
            <a:r>
              <a:rPr lang="en-US" sz="1400">
                <a:cs typeface="Arial" charset="0"/>
              </a:rPr>
              <a:t>2012</a:t>
            </a:r>
          </a:p>
        </p:txBody>
      </p:sp>
      <p:sp>
        <p:nvSpPr>
          <p:cNvPr id="120" name="Rectangle 28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421054" y="55330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Sep.</a:t>
            </a:r>
          </a:p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2012</a:t>
            </a:r>
            <a:endParaRPr lang="en-US" sz="1400">
              <a:cs typeface="Arial" charset="0"/>
            </a:endParaRPr>
          </a:p>
        </p:txBody>
      </p:sp>
      <p:sp>
        <p:nvSpPr>
          <p:cNvPr id="129" name="Rectangle 54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461606" y="55330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Jan. 2012</a:t>
            </a:r>
            <a:endParaRPr lang="en-US" sz="1400">
              <a:cs typeface="Arial" charset="0"/>
            </a:endParaRPr>
          </a:p>
        </p:txBody>
      </p:sp>
      <p:sp>
        <p:nvSpPr>
          <p:cNvPr id="126" name="Rectangle 125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3471325" y="2747094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99C90378-71C2-4184-9E62-AEE6C90E9881}" type="datetime'8''''8''''.''''''''''''''''''''''''''''''''''3'''''''''''">
              <a:rPr lang="en-US" sz="1400">
                <a:cs typeface="Arial"/>
              </a:rPr>
              <a:pPr marL="0" indent="0" algn="ctr"/>
              <a:t>88.3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25" name="Rectangle 51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2875218" y="5533048"/>
            <a:ext cx="401720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fld id="{CBD9578B-FF8E-4D8B-9F40-01149680000C}" type="datetime'''''''''''''''''''''''D''''''''''''''''''''''''''e''''''c'''''">
              <a:rPr lang="en-US" sz="1400">
                <a:cs typeface="Arial"/>
              </a:rPr>
              <a:pPr algn="ctr" defTabSz="912944">
                <a:spcBef>
                  <a:spcPct val="0"/>
                </a:spcBef>
                <a:spcAft>
                  <a:spcPct val="0"/>
                </a:spcAft>
              </a:pPr>
              <a:t>Dec</a:t>
            </a:fld>
            <a:r>
              <a:rPr lang="en-GB" sz="1400">
                <a:cs typeface="Arial" charset="0"/>
              </a:rPr>
              <a:t>. 2011</a:t>
            </a:r>
          </a:p>
        </p:txBody>
      </p:sp>
      <p:sp>
        <p:nvSpPr>
          <p:cNvPr id="147" name="Rectangle 14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2878457" y="3116396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0B1DEC33-C192-4A9F-8B15-ABDBD289C7E8}" type="datetime'''''''8''''''''''''''''''''''6''''''''''''''''''''''.5'''''''">
              <a:rPr lang="en-US" sz="1400">
                <a:cs typeface="Arial"/>
              </a:rPr>
              <a:pPr marL="0" indent="0" algn="ctr"/>
              <a:t>86.5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37" name="Rectangle 59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2280735" y="5533056"/>
            <a:ext cx="414679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fld id="{A7872D7E-8236-4398-8EA3-0099DF58A196}" type="datetime'No''''''''''''''''''v''''.'''' 2''''''01''''''''''''''''''1'">
              <a:rPr lang="en-US" sz="1400">
                <a:cs typeface="Arial"/>
              </a:rPr>
              <a:pPr algn="ctr" defTabSz="912944">
                <a:spcBef>
                  <a:spcPct val="0"/>
                </a:spcBef>
                <a:spcAft>
                  <a:spcPct val="0"/>
                </a:spcAft>
              </a:pPr>
              <a:t>Nov. 2011</a:t>
            </a:fld>
            <a:endParaRPr lang="en-GB" sz="1400">
              <a:cs typeface="Arial"/>
            </a:endParaRPr>
          </a:p>
          <a:p>
            <a:pPr algn="ctr" defTabSz="912944">
              <a:spcBef>
                <a:spcPct val="0"/>
              </a:spcBef>
              <a:spcAft>
                <a:spcPct val="0"/>
              </a:spcAft>
            </a:pPr>
            <a:endParaRPr lang="en-GB" sz="1400">
              <a:cs typeface="Arial" charset="0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2290461" y="3495412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9CC7D774-2123-442F-98C0-42C7205BE787}" type="datetime'''''8''''''''''4.''''''''''''''''''''''''7'''''''''''''''''''">
              <a:rPr lang="en-US" sz="1400">
                <a:cs typeface="Arial"/>
              </a:rPr>
              <a:pPr marL="0" indent="0" algn="ctr"/>
              <a:t>84.7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28" name="Rectangle 47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1692739" y="5533056"/>
            <a:ext cx="414679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fld id="{487CD8F7-7477-48B6-B866-2CACEF50A369}" type="datetime'''''Oc''''t''''''''. ''''''''''''''''''2''''01''''''''''''1'''">
              <a:rPr lang="en-US" sz="1400">
                <a:cs typeface="Arial"/>
              </a:rPr>
              <a:pPr algn="ctr" defTabSz="912944">
                <a:spcBef>
                  <a:spcPct val="0"/>
                </a:spcBef>
                <a:spcAft>
                  <a:spcPct val="0"/>
                </a:spcAft>
              </a:pPr>
              <a:t>Oct. 2011</a:t>
            </a:fld>
            <a:r>
              <a:rPr lang="en-GB" sz="1400">
                <a:cs typeface="Arial" charset="0"/>
              </a:rPr>
              <a:t/>
            </a:r>
            <a:br>
              <a:rPr lang="en-GB" sz="1400">
                <a:cs typeface="Arial" charset="0"/>
              </a:rPr>
            </a:br>
            <a:endParaRPr lang="en-GB" sz="1400">
              <a:cs typeface="Arial" charset="0"/>
            </a:endParaRPr>
          </a:p>
        </p:txBody>
      </p:sp>
      <p:sp useBgFill="1">
        <p:nvSpPr>
          <p:cNvPr id="140" name="Rectangle 139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1702453" y="3796689"/>
            <a:ext cx="396861" cy="217046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115F88A8-1E78-4874-B18F-728E0D2C614A}" type="datetime'''8''''''''''''3''.''''2'''''''">
              <a:rPr lang="en-US" sz="1400">
                <a:cs typeface="Arial"/>
              </a:rPr>
              <a:pPr marL="0" indent="0" algn="ctr"/>
              <a:t>83.2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24" name="Rectangle 49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1106352" y="5533056"/>
            <a:ext cx="401720" cy="65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cs typeface="Arial" charset="0"/>
              </a:rPr>
              <a:t>Sep. 2011</a:t>
            </a:r>
            <a:br>
              <a:rPr lang="en-GB" sz="1400">
                <a:cs typeface="Arial" charset="0"/>
              </a:rPr>
            </a:br>
            <a:endParaRPr lang="en-GB" sz="1400">
              <a:cs typeface="Arial" charset="0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1109591" y="3495412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CF401907-AF39-4ACF-9A3F-587C3B5095EB}" type="datetime'''''''''''''''''''''8''''''''''''''''''4.''''7'''''''''''''''">
              <a:rPr lang="en-US" sz="1400">
                <a:cs typeface="Arial"/>
              </a:rPr>
              <a:pPr marL="0" indent="0" algn="ctr"/>
              <a:t>84.7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27" name="Rectangle 46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361225" y="5533049"/>
            <a:ext cx="70787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fld id="{61042A3C-CF62-410E-A6A2-55E85C5B1CA3}" type="datetime'B''''''a''s''''''''''el''i''''''''''''''''n''''''''e'''''''">
              <a:rPr lang="en-US" sz="1400">
                <a:cs typeface="Arial"/>
              </a:rPr>
              <a:pPr algn="ctr" defTabSz="912944">
                <a:spcBef>
                  <a:spcPct val="0"/>
                </a:spcBef>
                <a:spcAft>
                  <a:spcPct val="0"/>
                </a:spcAft>
              </a:pPr>
              <a:t>Baseline</a:t>
            </a:fld>
            <a:endParaRPr lang="en-GB" sz="1400">
              <a:cs typeface="Arial"/>
            </a:endParaRPr>
          </a:p>
        </p:txBody>
      </p:sp>
      <p:sp>
        <p:nvSpPr>
          <p:cNvPr id="143" name="Rectangle 44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4657042" y="2951182"/>
            <a:ext cx="396861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63" tIns="0" rIns="22663" bIns="0" anchor="b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fld id="{639721B7-5E01-4173-B3C7-56F4EBE7D43D}" type="datetime'8''7''''''''''''''''''''''''''''.''3'''''''''''''''''''''">
              <a:rPr lang="en-US" sz="1400">
                <a:cs typeface="Arial"/>
              </a:rPr>
              <a:pPr algn="ctr" defTabSz="912944">
                <a:spcBef>
                  <a:spcPct val="0"/>
                </a:spcBef>
                <a:spcAft>
                  <a:spcPct val="0"/>
                </a:spcAft>
              </a:pPr>
              <a:t>87.3</a:t>
            </a:fld>
            <a:endParaRPr lang="en-US" sz="1400">
              <a:cs typeface="Arial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6430772" y="2688778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30B647C4-FB41-4805-9547-A78E10DAE0CB}" type="datetime'''''''88''''''''''''''''''''.''''''''6'''''''''''''''''''''''">
              <a:rPr lang="en-US" sz="1400">
                <a:cs typeface="Arial"/>
              </a:rPr>
              <a:pPr marL="0" indent="0" algn="ctr"/>
              <a:t>88.6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38" name="Rectangle 57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4064183" y="3223299"/>
            <a:ext cx="3968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663" tIns="0" rIns="22663" bIns="0" anchor="b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fld id="{08744562-37A8-434F-A685-87EBE22B5A16}" type="datetime'''8''''''''''6.''''''''''0'''''''''''''''''''''''''''''">
              <a:rPr lang="en-US" sz="1400">
                <a:cs typeface="Arial"/>
              </a:rPr>
              <a:pPr algn="ctr" defTabSz="912944">
                <a:spcBef>
                  <a:spcPct val="0"/>
                </a:spcBef>
                <a:spcAft>
                  <a:spcPct val="0"/>
                </a:spcAft>
              </a:pPr>
              <a:t>86.0</a:t>
            </a:fld>
            <a:endParaRPr lang="en-US" sz="1400">
              <a:cs typeface="Arial"/>
            </a:endParaRPr>
          </a:p>
        </p:txBody>
      </p:sp>
      <p:sp useBgFill="1">
        <p:nvSpPr>
          <p:cNvPr id="139" name="Rectangle 138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516736" y="4321486"/>
            <a:ext cx="396861" cy="217046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773F2D6A-4C35-4340-9659-9D543E2D711A}" type="datetime'''''''''''''80''.''''''''''''''7'''''''''''''''''''">
              <a:rPr lang="en-US" sz="1400">
                <a:cs typeface="Arial"/>
              </a:rPr>
              <a:pPr marL="0" indent="0" algn="ctr"/>
              <a:t>80.7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22" name="Rectangle 55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5833046" y="55330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Arial" charset="0"/>
              </a:rPr>
              <a:t>May 2012</a:t>
            </a: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5842765" y="2766531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C36C76A3-5F0E-4DCD-9A48-C2D53C33BC44}" type="datetime'8''''''''''''''''8''''''''''''''''''.''''''''''''''''''''2'''">
              <a:rPr lang="en-US" sz="1400">
                <a:cs typeface="Arial"/>
              </a:rPr>
              <a:pPr marL="0" indent="0" algn="ctr"/>
              <a:t>88.2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46" name="Rectangle 41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5240191" y="55330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Apr. 2012</a:t>
            </a:r>
          </a:p>
        </p:txBody>
      </p:sp>
      <p:sp useBgFill="1">
        <p:nvSpPr>
          <p:cNvPr id="155" name="Rectangle 154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4114402" y="3469494"/>
            <a:ext cx="296431" cy="217046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EBBE9EF3-B4BE-413E-BB17-75C601862147}" type="datetime'''''''''''''''''1''''''.''''1'''''''''''''">
              <a:rPr lang="en-US" sz="1400">
                <a:cs typeface="Arial"/>
              </a:rPr>
              <a:pPr marL="0" indent="0" algn="ctr"/>
              <a:t>1.1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5249910" y="2912308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BCF07CB1-1FEF-47BA-B018-684349A1FB90}" type="datetime'''''''''''8''''''''''''''''''''''''7''''''''''.5'''''''''''">
              <a:rPr lang="en-US" sz="1400">
                <a:cs typeface="Arial"/>
              </a:rPr>
              <a:pPr marL="0" indent="0" algn="ctr"/>
              <a:t>87.5</a:t>
            </a:fld>
            <a:endParaRPr lang="en-GB" sz="1400">
              <a:latin typeface="Arial"/>
              <a:cs typeface="Arial"/>
              <a:sym typeface="Arial"/>
            </a:endParaRPr>
          </a:p>
        </p:txBody>
      </p:sp>
      <p:sp>
        <p:nvSpPr>
          <p:cNvPr id="144" name="Rectangle 43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4647327" y="55330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Mar.</a:t>
            </a:r>
            <a:br>
              <a:rPr lang="en-US" sz="1400">
                <a:cs typeface="Arial" charset="0"/>
              </a:rPr>
            </a:br>
            <a:r>
              <a:rPr lang="en-US" sz="1400">
                <a:cs typeface="Arial" charset="0"/>
              </a:rPr>
              <a:t>2012</a:t>
            </a:r>
          </a:p>
        </p:txBody>
      </p:sp>
      <p:sp>
        <p:nvSpPr>
          <p:cNvPr id="136" name="Rectangle 143"/>
          <p:cNvSpPr txBox="1"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8204499" y="1959898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fld id="{C30B9161-4A8C-4C3D-BBB7-1B1EE49125EC}" type="datetime'''9''''''''''''2''.''''''''''''''''''''''''''''1'''''''">
              <a:rPr lang="en-US" sz="1400">
                <a:cs typeface="Arial"/>
              </a:rPr>
              <a:pPr/>
              <a:t>92.1</a:t>
            </a:fld>
            <a:endParaRPr lang="en-US" sz="1400">
              <a:cs typeface="Arial"/>
            </a:endParaRPr>
          </a:p>
        </p:txBody>
      </p:sp>
      <p:sp>
        <p:nvSpPr>
          <p:cNvPr id="132" name="Rectangle 131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8204499" y="3819362"/>
            <a:ext cx="396861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63" tIns="0" rIns="22663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1DCE89FC-F7ED-4095-A5CE-BDCDF7BAB624}" type="datetime'''9''''''''''''''''''''1''''.''''''''''''''''''0'''''">
              <a:rPr lang="en-US" sz="1400" b="1">
                <a:solidFill>
                  <a:schemeClr val="bg1"/>
                </a:solidFill>
                <a:cs typeface="Arial"/>
              </a:rPr>
              <a:pPr marL="0" indent="0" algn="ctr"/>
              <a:t>91.0</a:t>
            </a:fld>
            <a:endParaRPr lang="en-GB" sz="1400" b="1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6" name="Rectangle 117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7601915" y="5533048"/>
            <a:ext cx="414679" cy="434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None/>
            </a:pPr>
            <a:r>
              <a:rPr lang="en-US" sz="1400">
                <a:cs typeface="Arial" charset="0"/>
              </a:rPr>
              <a:t>Nov.</a:t>
            </a:r>
          </a:p>
          <a:p>
            <a:pPr algn="ctr">
              <a:buNone/>
            </a:pPr>
            <a:r>
              <a:rPr lang="en-US" sz="1400">
                <a:cs typeface="Arial" charset="0"/>
              </a:rPr>
              <a:t>2012</a:t>
            </a:r>
            <a:endParaRPr lang="en-US" sz="1400" dirty="0">
              <a:cs typeface="Arial" charset="0"/>
            </a:endParaRPr>
          </a:p>
        </p:txBody>
      </p:sp>
      <p:sp>
        <p:nvSpPr>
          <p:cNvPr id="141" name="Rectangle 45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4054461" y="5533048"/>
            <a:ext cx="414679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/>
          <a:lstStyle/>
          <a:p>
            <a:pPr algn="ctr" defTabSz="912944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cs typeface="Arial" charset="0"/>
              </a:rPr>
              <a:t>Feb.</a:t>
            </a:r>
            <a:br>
              <a:rPr lang="en-US" sz="1400">
                <a:cs typeface="Arial" charset="0"/>
              </a:rPr>
            </a:br>
            <a:r>
              <a:rPr lang="en-US" sz="1400">
                <a:cs typeface="Arial" charset="0"/>
              </a:rPr>
              <a:t>2012</a:t>
            </a:r>
          </a:p>
        </p:txBody>
      </p:sp>
      <p:grpSp>
        <p:nvGrpSpPr>
          <p:cNvPr id="73" name="Group 72"/>
          <p:cNvGrpSpPr/>
          <p:nvPr>
            <p:custDataLst>
              <p:tags r:id="rId62"/>
            </p:custDataLst>
          </p:nvPr>
        </p:nvGrpSpPr>
        <p:grpSpPr>
          <a:xfrm>
            <a:off x="3377197" y="6074044"/>
            <a:ext cx="2389608" cy="458388"/>
            <a:chOff x="2455864" y="5953125"/>
            <a:chExt cx="2101850" cy="449263"/>
          </a:xfrm>
        </p:grpSpPr>
        <p:sp>
          <p:nvSpPr>
            <p:cNvPr id="74" name="Rectangle 65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2455864" y="5953125"/>
              <a:ext cx="2101850" cy="449263"/>
            </a:xfrm>
            <a:prstGeom prst="rect">
              <a:avLst/>
            </a:prstGeom>
            <a:solidFill>
              <a:schemeClr val="folHlink"/>
            </a:solidFill>
            <a:ln w="1905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sz="1200" b="1"/>
            </a:p>
          </p:txBody>
        </p:sp>
        <p:sp>
          <p:nvSpPr>
            <p:cNvPr id="75" name="Rectangle 66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2544758" y="6069242"/>
              <a:ext cx="149046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2944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bg1"/>
                  </a:solidFill>
                </a:rPr>
                <a:t>March 2013 target:</a:t>
              </a:r>
            </a:p>
          </p:txBody>
        </p:sp>
        <p:sp>
          <p:nvSpPr>
            <p:cNvPr id="76" name="Rectangle 67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3946327" y="6069013"/>
              <a:ext cx="522073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r" defTabSz="912944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chemeClr val="bg1"/>
                  </a:solidFill>
                </a:rPr>
                <a:t>90%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62212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Picture 3" descr="P1000763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-4845"/>
          <a:stretch/>
        </p:blipFill>
        <p:spPr>
          <a:xfrm>
            <a:off x="0" y="0"/>
            <a:ext cx="9139535" cy="718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729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30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2391720"/>
            <a:ext cx="860807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37,000 extra teachers attend school every day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773245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741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defTabSz="931343"/>
            <a:fld id="{D62F1963-4395-4977-B422-93FD5E77E892}" type="slidenum">
              <a:rPr lang="en-GB"/>
              <a:pPr defTabSz="931343"/>
              <a:t>31</a:t>
            </a:fld>
            <a:endParaRPr lang="en-GB"/>
          </a:p>
        </p:txBody>
      </p:sp>
      <p:graphicFrame>
        <p:nvGraphicFramePr>
          <p:cNvPr id="274739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7417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18" name="Rectangle 28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01666" y="1425375"/>
            <a:ext cx="2408703" cy="811493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46648" tIns="46648" rIns="46648" bIns="46648" anchor="ctr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b="1">
                <a:solidFill>
                  <a:srgbClr val="000000"/>
                </a:solidFill>
                <a:cs typeface="Arial" charset="0"/>
              </a:rPr>
              <a:t>… teaching using activities</a:t>
            </a:r>
          </a:p>
        </p:txBody>
      </p:sp>
      <p:sp>
        <p:nvSpPr>
          <p:cNvPr id="2747419" name="Rectangle 28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199130" y="1425375"/>
            <a:ext cx="2423281" cy="811493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46648" tIns="46648" rIns="46648" bIns="46648" anchor="ctr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b="1">
                <a:solidFill>
                  <a:srgbClr val="000000"/>
                </a:solidFill>
                <a:cs typeface="Arial" charset="0"/>
              </a:rPr>
              <a:t>… asking questions to check learning</a:t>
            </a:r>
          </a:p>
        </p:txBody>
      </p:sp>
      <p:sp>
        <p:nvSpPr>
          <p:cNvPr id="2747420" name="Rectangle 28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76664" y="1425375"/>
            <a:ext cx="2408703" cy="811493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46648" tIns="46648" rIns="46648" bIns="46648" anchor="ctr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b="1">
                <a:solidFill>
                  <a:srgbClr val="000000"/>
                </a:solidFill>
                <a:cs typeface="Arial" charset="0"/>
              </a:rPr>
              <a:t>… using a lesson plan</a:t>
            </a:r>
          </a:p>
        </p:txBody>
      </p:sp>
      <p:sp>
        <p:nvSpPr>
          <p:cNvPr id="2747421" name="Rectangle 28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76663" y="1044737"/>
            <a:ext cx="5042564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>
                <a:solidFill>
                  <a:srgbClr val="808080"/>
                </a:solidFill>
                <a:cs typeface="Arial" charset="0"/>
              </a:rPr>
              <a:t>Percentage of teachers in sample who were …</a:t>
            </a:r>
          </a:p>
        </p:txBody>
      </p:sp>
      <p:sp>
        <p:nvSpPr>
          <p:cNvPr id="2747422" name="Rectangle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121489" y="234864"/>
            <a:ext cx="8794113" cy="372541"/>
          </a:xfrm>
        </p:spPr>
        <p:txBody>
          <a:bodyPr/>
          <a:lstStyle/>
          <a:p>
            <a:pPr eaLnBrk="1" hangingPunct="1"/>
            <a:r>
              <a:rPr lang="en-GB" sz="2400" dirty="0" smtClean="0"/>
              <a:t>The teacher quality pilots had a major impact in one month</a:t>
            </a:r>
            <a:endParaRPr lang="en-US" sz="2400" dirty="0"/>
          </a:p>
        </p:txBody>
      </p:sp>
      <p:graphicFrame>
        <p:nvGraphicFramePr>
          <p:cNvPr id="2747401" name="Object 9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2639949"/>
              </p:ext>
            </p:extLst>
          </p:nvPr>
        </p:nvGraphicFramePr>
        <p:xfrm>
          <a:off x="577850" y="2562225"/>
          <a:ext cx="1970088" cy="325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" name="Chart" r:id="rId34" imgW="1930400" imgH="3187700" progId="MSGraph.Chart.8">
                  <p:embed followColorScheme="full"/>
                </p:oleObj>
              </mc:Choice>
              <mc:Fallback>
                <p:oleObj name="Chart" r:id="rId34" imgW="1930400" imgH="31877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7850" y="2562225"/>
                        <a:ext cx="1970088" cy="3251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7423" name="Line 36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 flipV="1">
            <a:off x="2664638" y="3539144"/>
            <a:ext cx="0" cy="1454531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24" name="Line 35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2306653" y="3542383"/>
            <a:ext cx="416300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25" name="Line 34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1431939" y="4990435"/>
            <a:ext cx="1291013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26" name="Oval 1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384406" y="4141688"/>
            <a:ext cx="560465" cy="356344"/>
          </a:xfrm>
          <a:prstGeom prst="ellipse">
            <a:avLst/>
          </a:prstGeom>
          <a:solidFill>
            <a:schemeClr val="folHlink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3526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+39</a:t>
            </a:r>
          </a:p>
        </p:txBody>
      </p:sp>
      <p:sp>
        <p:nvSpPr>
          <p:cNvPr id="2747427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807742" y="5725800"/>
            <a:ext cx="375803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3B66171-8602-48CC-8AC4-00AD5F0EC6D9}" type="datetime'''''''''''O''''''''''''''''''''c''''''''''''''''t'''''''">
              <a:rPr lang="en-US">
                <a:solidFill>
                  <a:srgbClr val="000000"/>
                </a:solidFill>
                <a:cs typeface="Arial" charset="0"/>
              </a:rPr>
              <a:pPr defTabSz="913526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Oct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28" name="Rectangle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69855" y="5725800"/>
            <a:ext cx="492432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168A6ED-36F1-4422-8F1D-7D8DA73625D2}" type="datetime'''''S''''''''''''''''''''''''''''''''''''''ept'''''''''''''">
              <a:rPr lang="en-US">
                <a:solidFill>
                  <a:srgbClr val="000000"/>
                </a:solidFill>
                <a:cs typeface="Arial" charset="0"/>
              </a:rPr>
              <a:pPr defTabSz="913526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Sept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graphicFrame>
        <p:nvGraphicFramePr>
          <p:cNvPr id="2747408" name="Object 16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9346191"/>
              </p:ext>
            </p:extLst>
          </p:nvPr>
        </p:nvGraphicFramePr>
        <p:xfrm>
          <a:off x="3414713" y="2562225"/>
          <a:ext cx="1970087" cy="325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9" name="Chart" r:id="rId36" imgW="1930400" imgH="3187700" progId="MSGraph.Chart.8">
                  <p:embed followColorScheme="full"/>
                </p:oleObj>
              </mc:Choice>
              <mc:Fallback>
                <p:oleObj name="Chart" r:id="rId36" imgW="1930400" imgH="31877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414713" y="2562225"/>
                        <a:ext cx="1970087" cy="3251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7429" name="Line 39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 flipV="1">
            <a:off x="5500978" y="3247589"/>
            <a:ext cx="0" cy="1153258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0" name="Line 38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5142995" y="3250829"/>
            <a:ext cx="416298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1" name="Line 37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4268281" y="4397608"/>
            <a:ext cx="1291012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2" name="Oval 2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220747" y="3699497"/>
            <a:ext cx="560465" cy="356344"/>
          </a:xfrm>
          <a:prstGeom prst="ellipse">
            <a:avLst/>
          </a:prstGeom>
          <a:solidFill>
            <a:schemeClr val="folHlink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3526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+31</a:t>
            </a:r>
          </a:p>
        </p:txBody>
      </p:sp>
      <p:sp>
        <p:nvSpPr>
          <p:cNvPr id="2747433" name="Rectangle 2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644083" y="5725800"/>
            <a:ext cx="375803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F7CD38A-B503-44C0-A6C1-391F4E3BAB36}" type="datetime'''''''''''''''''''''''''''''''''Oc''''''''t'''''''">
              <a:rPr lang="en-US">
                <a:solidFill>
                  <a:srgbClr val="000000"/>
                </a:solidFill>
                <a:cs typeface="Arial" charset="0"/>
              </a:rPr>
              <a:pPr defTabSz="913526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Oct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4" name="Rectangle 2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706195" y="5725800"/>
            <a:ext cx="492432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BF89829-73E8-4ECF-B9A5-213CE65B5DC3}" type="datetime'''''S''e''''''''pt'''''''''''''''''''''''''''''">
              <a:rPr lang="en-US">
                <a:solidFill>
                  <a:srgbClr val="000000"/>
                </a:solidFill>
                <a:cs typeface="Arial" charset="0"/>
              </a:rPr>
              <a:pPr defTabSz="913526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Sept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graphicFrame>
        <p:nvGraphicFramePr>
          <p:cNvPr id="2747415" name="Object 23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943432828"/>
              </p:ext>
            </p:extLst>
          </p:nvPr>
        </p:nvGraphicFramePr>
        <p:xfrm>
          <a:off x="6200775" y="2187575"/>
          <a:ext cx="1970088" cy="3627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0" name="Chart" r:id="rId38" imgW="1930400" imgH="3556000" progId="MSGraph.Chart.8">
                  <p:embed followColorScheme="full"/>
                </p:oleObj>
              </mc:Choice>
              <mc:Fallback>
                <p:oleObj name="Chart" r:id="rId38" imgW="1930400" imgH="35560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200775" y="2187575"/>
                        <a:ext cx="1970088" cy="36274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7435" name="Line 42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V="1">
            <a:off x="8287104" y="2662861"/>
            <a:ext cx="0" cy="1007481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6" name="Line 41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7929120" y="2666100"/>
            <a:ext cx="416298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7" name="Line 40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7054406" y="3667103"/>
            <a:ext cx="1291012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121212" rIns="93296" bIns="121212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38" name="Oval 29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8006872" y="3041881"/>
            <a:ext cx="560465" cy="356344"/>
          </a:xfrm>
          <a:prstGeom prst="ellipse">
            <a:avLst/>
          </a:prstGeom>
          <a:solidFill>
            <a:schemeClr val="folHlink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3526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+27</a:t>
            </a:r>
          </a:p>
        </p:txBody>
      </p:sp>
      <p:sp>
        <p:nvSpPr>
          <p:cNvPr id="2747439" name="Rectangle 28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430209" y="5733897"/>
            <a:ext cx="375803" cy="280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3C55179-7B96-42E6-B529-6DCBFDE86161}" type="datetime'''''''''O''''''''''c''''''''''''''''t'''">
              <a:rPr lang="en-US">
                <a:solidFill>
                  <a:srgbClr val="000000"/>
                </a:solidFill>
                <a:cs typeface="Arial" charset="0"/>
              </a:rPr>
              <a:pPr defTabSz="913526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Oct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40" name="Rectangle 27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492320" y="5733897"/>
            <a:ext cx="492432" cy="280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9B39BB0-416D-45F4-B540-3ED59FD45DE0}" type="datetime'''''''''S''''e''''''''''''''''''''p''''t'''''''''">
              <a:rPr lang="en-US">
                <a:solidFill>
                  <a:srgbClr val="000000"/>
                </a:solidFill>
                <a:cs typeface="Arial" charset="0"/>
              </a:rPr>
              <a:pPr defTabSz="913526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Sept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47441" name="Rectangle 28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10150" y="6582644"/>
            <a:ext cx="8854048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200">
                <a:solidFill>
                  <a:srgbClr val="000000"/>
                </a:solidFill>
                <a:cs typeface="Arial" charset="0"/>
              </a:rPr>
              <a:t>NOTE: The above are just three of the twelve indicators used to evaluate and mentor teachers during the pilot</a:t>
            </a:r>
          </a:p>
        </p:txBody>
      </p:sp>
    </p:spTree>
    <p:extLst>
      <p:ext uri="{BB962C8B-B14F-4D97-AF65-F5344CB8AC3E}">
        <p14:creationId xmlns:p14="http://schemas.microsoft.com/office/powerpoint/2010/main" val="24813085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  <p:pic>
        <p:nvPicPr>
          <p:cNvPr id="8" name="Picture 7" descr="photo (2)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1526" y="1086970"/>
            <a:ext cx="7455647" cy="5591736"/>
          </a:xfrm>
          <a:prstGeom prst="rect">
            <a:avLst/>
          </a:prstGeom>
        </p:spPr>
      </p:pic>
      <p:sp>
        <p:nvSpPr>
          <p:cNvPr id="11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1489" y="204982"/>
            <a:ext cx="879411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33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5981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400" b="1" dirty="0" smtClean="0"/>
              <a:t>In April every child in Punjab will receive new textbooks in line with the 2006 national curriculum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8733075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6421624"/>
              </p:ext>
            </p:extLst>
          </p:nvPr>
        </p:nvGraphicFramePr>
        <p:xfrm>
          <a:off x="508001" y="1016001"/>
          <a:ext cx="8255000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28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663" y="1044737"/>
            <a:ext cx="504256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b="1" dirty="0" smtClean="0">
                <a:solidFill>
                  <a:srgbClr val="808080"/>
                </a:solidFill>
                <a:cs typeface="Arial" charset="0"/>
              </a:rPr>
              <a:t>Number of children receiving vouchers</a:t>
            </a:r>
          </a:p>
          <a:p>
            <a:pPr defTabSz="913526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dirty="0" smtClean="0">
                <a:solidFill>
                  <a:srgbClr val="808080"/>
                </a:solidFill>
                <a:cs typeface="Arial" charset="0"/>
              </a:rPr>
              <a:t>‘000s </a:t>
            </a:r>
            <a:endParaRPr lang="en-GB" dirty="0">
              <a:solidFill>
                <a:srgbClr val="808080"/>
              </a:solidFill>
              <a:cs typeface="Arial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1489" y="204982"/>
            <a:ext cx="879411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33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2556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5981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400" b="1" dirty="0" smtClean="0"/>
              <a:t>The Roadmap has resulted in a large increase in the number of children from poor families receiving voucher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6934247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928510" y="5575456"/>
            <a:ext cx="7533536" cy="65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9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Lessons</a:t>
            </a:r>
            <a:endParaRPr lang="en-US" sz="9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pic>
        <p:nvPicPr>
          <p:cNvPr id="5" name="Picture 4" descr="P100074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8" r="37489"/>
          <a:stretch/>
        </p:blipFill>
        <p:spPr>
          <a:xfrm rot="5400000">
            <a:off x="1908429" y="-1901569"/>
            <a:ext cx="5331608" cy="913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03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5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50031" y="-35718"/>
            <a:ext cx="9411890" cy="2616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6" name="Rectangle 10"/>
          <p:cNvSpPr>
            <a:spLocks/>
          </p:cNvSpPr>
          <p:nvPr/>
        </p:nvSpPr>
        <p:spPr bwMode="auto">
          <a:xfrm>
            <a:off x="-53579" y="-71437"/>
            <a:ext cx="9206508" cy="2339214"/>
          </a:xfrm>
          <a:prstGeom prst="rect">
            <a:avLst/>
          </a:prstGeom>
          <a:solidFill>
            <a:srgbClr val="000000">
              <a:alpha val="4901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>
                    <a:alpha val="49019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53643" y="515689"/>
            <a:ext cx="8590359" cy="1321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4280" tIns="32140" rIns="64280" bIns="3214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100" b="1" dirty="0">
                <a:solidFill>
                  <a:srgbClr val="FFFFFF"/>
                </a:solidFill>
                <a:latin typeface="Trade Gothic LT Bold"/>
                <a:ea typeface="ヒラギノ角ゴ ProN W3"/>
                <a:cs typeface="Trade Gothic LT Bold"/>
                <a:sym typeface="Gill Sans" charset="0"/>
              </a:rPr>
              <a:t>The twelve lessons of the Punjab Roadmap</a:t>
            </a:r>
            <a:endParaRPr lang="en-US" sz="2900" b="1" dirty="0">
              <a:solidFill>
                <a:srgbClr val="FFFFFF"/>
              </a:solidFill>
              <a:latin typeface="Gill Sans"/>
              <a:ea typeface="ヒラギノ角ゴ ProN W3"/>
              <a:cs typeface="Helvetica Light"/>
              <a:sym typeface="Gill Sans" charset="0"/>
            </a:endParaRPr>
          </a:p>
        </p:txBody>
      </p:sp>
      <p:grpSp>
        <p:nvGrpSpPr>
          <p:cNvPr id="22" name="Group 3"/>
          <p:cNvGrpSpPr>
            <a:grpSpLocks/>
          </p:cNvGrpSpPr>
          <p:nvPr/>
        </p:nvGrpSpPr>
        <p:grpSpPr bwMode="auto">
          <a:xfrm>
            <a:off x="3140023" y="3022807"/>
            <a:ext cx="2642809" cy="3715732"/>
            <a:chOff x="0" y="0"/>
            <a:chExt cx="2579" cy="3116"/>
          </a:xfrm>
        </p:grpSpPr>
        <p:sp>
          <p:nvSpPr>
            <p:cNvPr id="23" name="Line 1"/>
            <p:cNvSpPr>
              <a:spLocks noChangeShapeType="1"/>
            </p:cNvSpPr>
            <p:nvPr/>
          </p:nvSpPr>
          <p:spPr bwMode="auto">
            <a:xfrm>
              <a:off x="0" y="0"/>
              <a:ext cx="0" cy="3116"/>
            </a:xfrm>
            <a:prstGeom prst="line">
              <a:avLst/>
            </a:prstGeom>
            <a:noFill/>
            <a:ln w="25400" cap="rnd">
              <a:solidFill>
                <a:schemeClr val="tx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4" name="Line 2"/>
            <p:cNvSpPr>
              <a:spLocks noChangeShapeType="1"/>
            </p:cNvSpPr>
            <p:nvPr/>
          </p:nvSpPr>
          <p:spPr bwMode="auto">
            <a:xfrm flipH="1">
              <a:off x="2579" y="17"/>
              <a:ext cx="0" cy="3079"/>
            </a:xfrm>
            <a:prstGeom prst="line">
              <a:avLst/>
            </a:prstGeom>
            <a:noFill/>
            <a:ln w="25400" cap="rnd">
              <a:solidFill>
                <a:schemeClr val="tx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25" name="Line 11"/>
          <p:cNvSpPr>
            <a:spLocks noChangeShapeType="1"/>
          </p:cNvSpPr>
          <p:nvPr/>
        </p:nvSpPr>
        <p:spPr bwMode="auto">
          <a:xfrm flipH="1">
            <a:off x="407680" y="4646348"/>
            <a:ext cx="8191390" cy="0"/>
          </a:xfrm>
          <a:prstGeom prst="line">
            <a:avLst/>
          </a:prstGeom>
          <a:noFill/>
          <a:ln w="25400" cap="rnd">
            <a:solidFill>
              <a:schemeClr val="tx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6" name="Line 12"/>
          <p:cNvSpPr>
            <a:spLocks noChangeShapeType="1"/>
          </p:cNvSpPr>
          <p:nvPr/>
        </p:nvSpPr>
        <p:spPr bwMode="auto">
          <a:xfrm flipH="1">
            <a:off x="427770" y="5745325"/>
            <a:ext cx="8200214" cy="0"/>
          </a:xfrm>
          <a:prstGeom prst="line">
            <a:avLst/>
          </a:prstGeom>
          <a:noFill/>
          <a:ln w="25400" cap="rnd">
            <a:solidFill>
              <a:schemeClr val="tx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7" name="Rectangle 13"/>
          <p:cNvSpPr>
            <a:spLocks/>
          </p:cNvSpPr>
          <p:nvPr/>
        </p:nvSpPr>
        <p:spPr bwMode="auto">
          <a:xfrm>
            <a:off x="0" y="2098693"/>
            <a:ext cx="9459868" cy="74116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8" name="Rectangle 4"/>
          <p:cNvSpPr>
            <a:spLocks/>
          </p:cNvSpPr>
          <p:nvPr/>
        </p:nvSpPr>
        <p:spPr bwMode="auto">
          <a:xfrm>
            <a:off x="427772" y="2203560"/>
            <a:ext cx="2591797" cy="58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FFFF"/>
                </a:solidFill>
                <a:latin typeface="DIN-Medium" charset="0"/>
                <a:ea typeface="ＭＳ Ｐゴシック" charset="0"/>
                <a:cs typeface="ＭＳ Ｐゴシック" charset="0"/>
                <a:sym typeface="DIN-Medium" charset="0"/>
              </a:rPr>
              <a:t>To boldly go</a:t>
            </a:r>
            <a:endParaRPr lang="en-US" sz="2000" b="1" i="1" dirty="0">
              <a:solidFill>
                <a:srgbClr val="FFFFFF"/>
              </a:solidFill>
              <a:latin typeface="DIN-Medium" charset="0"/>
              <a:ea typeface="ＭＳ Ｐゴシック" charset="0"/>
              <a:cs typeface="ＭＳ Ｐゴシック" charset="0"/>
              <a:sym typeface="DIN-Medium" charset="0"/>
            </a:endParaRPr>
          </a:p>
        </p:txBody>
      </p:sp>
      <p:sp>
        <p:nvSpPr>
          <p:cNvPr id="29" name="Rectangle 4"/>
          <p:cNvSpPr>
            <a:spLocks/>
          </p:cNvSpPr>
          <p:nvPr/>
        </p:nvSpPr>
        <p:spPr bwMode="auto">
          <a:xfrm>
            <a:off x="3324740" y="2203560"/>
            <a:ext cx="2591797" cy="58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FFFF"/>
                </a:solidFill>
                <a:latin typeface="DIN-Medium" charset="0"/>
                <a:ea typeface="ＭＳ Ｐゴシック" charset="0"/>
                <a:cs typeface="ＭＳ Ｐゴシック" charset="0"/>
                <a:sym typeface="DIN-Medium" charset="0"/>
              </a:rPr>
              <a:t>The brutal facts</a:t>
            </a:r>
            <a:endParaRPr lang="en-US" sz="2000" b="1" i="1" dirty="0">
              <a:solidFill>
                <a:srgbClr val="FFFFFF"/>
              </a:solidFill>
              <a:latin typeface="DIN-Medium" charset="0"/>
              <a:ea typeface="ＭＳ Ｐゴシック" charset="0"/>
              <a:cs typeface="ＭＳ Ｐゴシック" charset="0"/>
              <a:sym typeface="DIN-Medium" charset="0"/>
            </a:endParaRPr>
          </a:p>
        </p:txBody>
      </p:sp>
      <p:sp>
        <p:nvSpPr>
          <p:cNvPr id="30" name="Rectangle 4"/>
          <p:cNvSpPr>
            <a:spLocks/>
          </p:cNvSpPr>
          <p:nvPr/>
        </p:nvSpPr>
        <p:spPr bwMode="auto">
          <a:xfrm>
            <a:off x="5992432" y="2203560"/>
            <a:ext cx="2591797" cy="58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FFFF"/>
                </a:solidFill>
                <a:latin typeface="DIN-Medium" charset="0"/>
                <a:ea typeface="ＭＳ Ｐゴシック" charset="0"/>
                <a:cs typeface="ＭＳ Ｐゴシック" charset="0"/>
                <a:sym typeface="DIN-Medium" charset="0"/>
              </a:rPr>
              <a:t>Never relent</a:t>
            </a:r>
            <a:endParaRPr lang="en-US" sz="2000" b="1" i="1" dirty="0">
              <a:solidFill>
                <a:srgbClr val="FFFFFF"/>
              </a:solidFill>
              <a:latin typeface="DIN-Medium" charset="0"/>
              <a:ea typeface="ＭＳ Ｐゴシック" charset="0"/>
              <a:cs typeface="ＭＳ Ｐゴシック" charset="0"/>
              <a:sym typeface="DIN-Medium" charset="0"/>
            </a:endParaRPr>
          </a:p>
        </p:txBody>
      </p:sp>
      <p:sp>
        <p:nvSpPr>
          <p:cNvPr id="31" name="TextBox 1"/>
          <p:cNvSpPr txBox="1">
            <a:spLocks noChangeArrowheads="1"/>
          </p:cNvSpPr>
          <p:nvPr/>
        </p:nvSpPr>
        <p:spPr bwMode="auto">
          <a:xfrm>
            <a:off x="427771" y="3203003"/>
            <a:ext cx="2649927" cy="347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1: </a:t>
            </a:r>
            <a:r>
              <a:rPr lang="en-US" sz="1800" dirty="0"/>
              <a:t>Be ambitious</a:t>
            </a:r>
          </a:p>
        </p:txBody>
      </p:sp>
      <p:sp>
        <p:nvSpPr>
          <p:cNvPr id="41" name="Line 11"/>
          <p:cNvSpPr>
            <a:spLocks noChangeShapeType="1"/>
          </p:cNvSpPr>
          <p:nvPr/>
        </p:nvSpPr>
        <p:spPr bwMode="auto">
          <a:xfrm flipH="1">
            <a:off x="417399" y="3829939"/>
            <a:ext cx="8191390" cy="0"/>
          </a:xfrm>
          <a:prstGeom prst="line">
            <a:avLst/>
          </a:prstGeom>
          <a:noFill/>
          <a:ln w="25400" cap="rnd">
            <a:solidFill>
              <a:schemeClr val="tx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42" name="TextBox 1"/>
          <p:cNvSpPr txBox="1">
            <a:spLocks noChangeArrowheads="1"/>
          </p:cNvSpPr>
          <p:nvPr/>
        </p:nvSpPr>
        <p:spPr bwMode="auto">
          <a:xfrm>
            <a:off x="427771" y="4048158"/>
            <a:ext cx="2649927" cy="347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2: </a:t>
            </a:r>
            <a:r>
              <a:rPr lang="en-US" sz="1800" dirty="0"/>
              <a:t>Set clear goals</a:t>
            </a:r>
          </a:p>
        </p:txBody>
      </p:sp>
      <p:sp>
        <p:nvSpPr>
          <p:cNvPr id="43" name="TextBox 1"/>
          <p:cNvSpPr txBox="1">
            <a:spLocks noChangeArrowheads="1"/>
          </p:cNvSpPr>
          <p:nvPr/>
        </p:nvSpPr>
        <p:spPr bwMode="auto">
          <a:xfrm>
            <a:off x="427771" y="4686985"/>
            <a:ext cx="2649927" cy="91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3: </a:t>
            </a:r>
            <a:r>
              <a:rPr lang="en-US" sz="1800" dirty="0"/>
              <a:t>Prepare, plan and get on with it; you can refine it as you go</a:t>
            </a:r>
          </a:p>
        </p:txBody>
      </p:sp>
      <p:sp>
        <p:nvSpPr>
          <p:cNvPr id="44" name="TextBox 1"/>
          <p:cNvSpPr txBox="1">
            <a:spLocks noChangeArrowheads="1"/>
          </p:cNvSpPr>
          <p:nvPr/>
        </p:nvSpPr>
        <p:spPr bwMode="auto">
          <a:xfrm>
            <a:off x="427771" y="5925540"/>
            <a:ext cx="2649927" cy="630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4: </a:t>
            </a:r>
            <a:r>
              <a:rPr lang="en-US" sz="1800" dirty="0"/>
              <a:t>Establish routines that work</a:t>
            </a:r>
          </a:p>
        </p:txBody>
      </p:sp>
      <p:sp>
        <p:nvSpPr>
          <p:cNvPr id="45" name="TextBox 1"/>
          <p:cNvSpPr txBox="1">
            <a:spLocks noChangeArrowheads="1"/>
          </p:cNvSpPr>
          <p:nvPr/>
        </p:nvSpPr>
        <p:spPr bwMode="auto">
          <a:xfrm>
            <a:off x="3337005" y="2920378"/>
            <a:ext cx="2397232" cy="91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5: </a:t>
            </a:r>
            <a:r>
              <a:rPr lang="en-US" sz="1800" dirty="0"/>
              <a:t>The conversation must be honest</a:t>
            </a:r>
          </a:p>
        </p:txBody>
      </p:sp>
      <p:sp>
        <p:nvSpPr>
          <p:cNvPr id="46" name="TextBox 1"/>
          <p:cNvSpPr txBox="1">
            <a:spLocks noChangeArrowheads="1"/>
          </p:cNvSpPr>
          <p:nvPr/>
        </p:nvSpPr>
        <p:spPr bwMode="auto">
          <a:xfrm>
            <a:off x="3337005" y="3906848"/>
            <a:ext cx="2397232" cy="630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6: </a:t>
            </a:r>
            <a:r>
              <a:rPr lang="en-US" sz="1800" dirty="0"/>
              <a:t>Know what’s really happening</a:t>
            </a:r>
          </a:p>
        </p:txBody>
      </p:sp>
      <p:sp>
        <p:nvSpPr>
          <p:cNvPr id="47" name="TextBox 1"/>
          <p:cNvSpPr txBox="1">
            <a:spLocks noChangeArrowheads="1"/>
          </p:cNvSpPr>
          <p:nvPr/>
        </p:nvSpPr>
        <p:spPr bwMode="auto">
          <a:xfrm>
            <a:off x="3337005" y="4686985"/>
            <a:ext cx="2397232" cy="91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7: </a:t>
            </a:r>
            <a:r>
              <a:rPr lang="en-US" sz="1800" dirty="0"/>
              <a:t>Refine constantly but don’t compromise</a:t>
            </a:r>
          </a:p>
        </p:txBody>
      </p:sp>
      <p:sp>
        <p:nvSpPr>
          <p:cNvPr id="48" name="TextBox 1"/>
          <p:cNvSpPr txBox="1">
            <a:spLocks noChangeArrowheads="1"/>
          </p:cNvSpPr>
          <p:nvPr/>
        </p:nvSpPr>
        <p:spPr bwMode="auto">
          <a:xfrm>
            <a:off x="3337005" y="5925540"/>
            <a:ext cx="2397232" cy="630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8: </a:t>
            </a:r>
            <a:r>
              <a:rPr lang="en-US" sz="1800" dirty="0"/>
              <a:t>Create momentum</a:t>
            </a:r>
          </a:p>
        </p:txBody>
      </p:sp>
      <p:sp>
        <p:nvSpPr>
          <p:cNvPr id="49" name="TextBox 1"/>
          <p:cNvSpPr txBox="1">
            <a:spLocks noChangeArrowheads="1"/>
          </p:cNvSpPr>
          <p:nvPr/>
        </p:nvSpPr>
        <p:spPr bwMode="auto">
          <a:xfrm>
            <a:off x="5906070" y="3203003"/>
            <a:ext cx="3043549" cy="347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9: </a:t>
            </a:r>
            <a:r>
              <a:rPr lang="en-US" sz="1800" dirty="0"/>
              <a:t>Persist</a:t>
            </a:r>
          </a:p>
        </p:txBody>
      </p:sp>
      <p:sp>
        <p:nvSpPr>
          <p:cNvPr id="50" name="TextBox 1"/>
          <p:cNvSpPr txBox="1">
            <a:spLocks noChangeArrowheads="1"/>
          </p:cNvSpPr>
          <p:nvPr/>
        </p:nvSpPr>
        <p:spPr bwMode="auto">
          <a:xfrm>
            <a:off x="5906070" y="3906848"/>
            <a:ext cx="3043549" cy="630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10: </a:t>
            </a:r>
            <a:r>
              <a:rPr lang="en-US" sz="1800" dirty="0"/>
              <a:t>Build a guiding coalition</a:t>
            </a:r>
          </a:p>
        </p:txBody>
      </p:sp>
      <p:sp>
        <p:nvSpPr>
          <p:cNvPr id="51" name="TextBox 1"/>
          <p:cNvSpPr txBox="1">
            <a:spLocks noChangeArrowheads="1"/>
          </p:cNvSpPr>
          <p:nvPr/>
        </p:nvSpPr>
        <p:spPr bwMode="auto">
          <a:xfrm>
            <a:off x="5906070" y="4686985"/>
            <a:ext cx="3043549" cy="91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11: </a:t>
            </a:r>
            <a:r>
              <a:rPr lang="en-US" sz="1800" dirty="0"/>
              <a:t>Focus on the change that’s needed…Work back from there to the money</a:t>
            </a:r>
          </a:p>
        </p:txBody>
      </p:sp>
      <p:sp>
        <p:nvSpPr>
          <p:cNvPr id="52" name="TextBox 1"/>
          <p:cNvSpPr txBox="1">
            <a:spLocks noChangeArrowheads="1"/>
          </p:cNvSpPr>
          <p:nvPr/>
        </p:nvSpPr>
        <p:spPr bwMode="auto">
          <a:xfrm>
            <a:off x="5906070" y="5784225"/>
            <a:ext cx="3043549" cy="91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80" tIns="32140" rIns="64280" bIns="32140">
            <a:spAutoFit/>
          </a:bodyPr>
          <a:lstStyle>
            <a:lvl1pPr marL="457200" indent="-4572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indent="0" defTabSz="932962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Lesson 12: </a:t>
            </a:r>
            <a:r>
              <a:rPr lang="en-US" sz="1800" dirty="0"/>
              <a:t>When all else fails in Pakistan, you can always talk about cricket</a:t>
            </a:r>
          </a:p>
        </p:txBody>
      </p:sp>
    </p:spTree>
    <p:extLst>
      <p:ext uri="{BB962C8B-B14F-4D97-AF65-F5344CB8AC3E}">
        <p14:creationId xmlns:p14="http://schemas.microsoft.com/office/powerpoint/2010/main" val="337384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36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1709931"/>
            <a:ext cx="8608079" cy="460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We </a:t>
            </a:r>
            <a:r>
              <a:rPr lang="en-US" sz="4000" b="1" dirty="0">
                <a:solidFill>
                  <a:srgbClr val="F2F2F2"/>
                </a:solidFill>
                <a:latin typeface="Gill Sans"/>
                <a:cs typeface="Gill Sans"/>
              </a:rPr>
              <a:t>must lay the groundwork for a new kind of knowledge, what some have called a ‘science of delivery’, that countries will use to meet the demands of their </a:t>
            </a:r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people</a:t>
            </a:r>
          </a:p>
          <a:p>
            <a:pPr algn="ctr"/>
            <a:endParaRPr lang="en-US" sz="3000" i="1" dirty="0" smtClean="0">
              <a:solidFill>
                <a:srgbClr val="F2F2F2"/>
              </a:solidFill>
              <a:latin typeface="Gill Sans"/>
              <a:cs typeface="Gill Sans"/>
            </a:endParaRPr>
          </a:p>
          <a:p>
            <a:pPr algn="r"/>
            <a:r>
              <a:rPr lang="en-US" sz="2300" i="1" dirty="0" smtClean="0">
                <a:solidFill>
                  <a:srgbClr val="F2F2F2"/>
                </a:solidFill>
                <a:latin typeface="Gill Sans"/>
                <a:cs typeface="Gill Sans"/>
              </a:rPr>
              <a:t>Jim </a:t>
            </a:r>
            <a:r>
              <a:rPr lang="en-US" sz="2300" i="1" dirty="0">
                <a:solidFill>
                  <a:srgbClr val="F2F2F2"/>
                </a:solidFill>
                <a:latin typeface="Gill Sans"/>
                <a:cs typeface="Gill Sans"/>
              </a:rPr>
              <a:t>Yong Kim, President of the World Bank 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163053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1567132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928510" y="5640723"/>
            <a:ext cx="7533536" cy="65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7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Next Steps</a:t>
            </a:r>
            <a:endParaRPr lang="en-US" sz="7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pic>
        <p:nvPicPr>
          <p:cNvPr id="2" name="Picture 1" descr="P1000062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68"/>
          <a:stretch/>
        </p:blipFill>
        <p:spPr>
          <a:xfrm>
            <a:off x="0" y="0"/>
            <a:ext cx="9144000" cy="5454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71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38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1709931"/>
            <a:ext cx="860807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Gill Sans"/>
                <a:cs typeface="Gill Sans"/>
              </a:rPr>
              <a:t>The visionary leaders </a:t>
            </a:r>
            <a:r>
              <a:rPr lang="en-US" sz="4000" b="1" dirty="0" smtClean="0">
                <a:solidFill>
                  <a:schemeClr val="bg1"/>
                </a:solidFill>
                <a:latin typeface="Gill Sans"/>
                <a:cs typeface="Gill Sans"/>
              </a:rPr>
              <a:t>in countries such as Pakistan … want </a:t>
            </a:r>
            <a:r>
              <a:rPr lang="en-US" sz="4000" b="1" dirty="0">
                <a:solidFill>
                  <a:schemeClr val="bg1"/>
                </a:solidFill>
                <a:latin typeface="Gill Sans"/>
                <a:cs typeface="Gill Sans"/>
              </a:rPr>
              <a:t>their province or country to succeed and ultimately to do so without any dependence on aid. </a:t>
            </a:r>
          </a:p>
          <a:p>
            <a:pPr algn="ctr"/>
            <a:endParaRPr lang="en-US" sz="3000" i="1" dirty="0" smtClean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163053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621659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1"/>
          <p:cNvSpPr>
            <a:spLocks/>
          </p:cNvSpPr>
          <p:nvPr/>
        </p:nvSpPr>
        <p:spPr bwMode="auto">
          <a:xfrm>
            <a:off x="0" y="-35719"/>
            <a:ext cx="9179719" cy="4741664"/>
          </a:xfrm>
          <a:prstGeom prst="rect">
            <a:avLst/>
          </a:prstGeom>
          <a:solidFill>
            <a:srgbClr val="FFA3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/>
            <a:endParaRPr lang="en-US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765" y="3634383"/>
            <a:ext cx="858367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AutoShape 3"/>
          <p:cNvSpPr>
            <a:spLocks/>
          </p:cNvSpPr>
          <p:nvPr/>
        </p:nvSpPr>
        <p:spPr bwMode="auto">
          <a:xfrm rot="10800000" flipH="1">
            <a:off x="1187649" y="4688086"/>
            <a:ext cx="1794867" cy="625078"/>
          </a:xfrm>
          <a:prstGeom prst="triangle">
            <a:avLst>
              <a:gd name="adj" fmla="val 50000"/>
            </a:avLst>
          </a:prstGeom>
          <a:solidFill>
            <a:srgbClr val="FFA31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/>
            <a:endParaRPr lang="en-US"/>
          </a:p>
        </p:txBody>
      </p:sp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0344" y="3679031"/>
            <a:ext cx="5036344" cy="241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0344" y="4098726"/>
            <a:ext cx="2321719" cy="205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359" y="5777508"/>
            <a:ext cx="4384477" cy="1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762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 descr="P100088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3509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1499" y="2391720"/>
            <a:ext cx="8794113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“I </a:t>
            </a:r>
            <a:r>
              <a:rPr lang="en-US" sz="4000" b="1" dirty="0">
                <a:solidFill>
                  <a:srgbClr val="F2F2F2"/>
                </a:solidFill>
                <a:latin typeface="Gill Sans"/>
                <a:cs typeface="Gill Sans"/>
              </a:rPr>
              <a:t>am of the opinion that the boldest measures are the </a:t>
            </a:r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safest”</a:t>
            </a:r>
            <a:endParaRPr lang="en-US" sz="4000" b="1" dirty="0">
              <a:solidFill>
                <a:srgbClr val="F2F2F2"/>
              </a:solidFill>
              <a:latin typeface="Gill Sans"/>
              <a:cs typeface="Gill Sans"/>
            </a:endParaRPr>
          </a:p>
          <a:p>
            <a:endParaRPr lang="en-US" sz="4500" b="1" dirty="0">
              <a:solidFill>
                <a:srgbClr val="F2F2F2"/>
              </a:solidFill>
              <a:latin typeface="Gill Sans"/>
              <a:cs typeface="Gill Sans"/>
            </a:endParaRPr>
          </a:p>
          <a:p>
            <a:pPr algn="r"/>
            <a:r>
              <a:rPr lang="en-US" sz="2300" i="1" dirty="0">
                <a:solidFill>
                  <a:srgbClr val="F2F2F2"/>
                </a:solidFill>
                <a:latin typeface="Gill Sans"/>
                <a:cs typeface="Gill Sans"/>
              </a:rPr>
              <a:t>Lord Nelson on the eve of the Battle of Copenhagen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5381377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2268" r="7732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331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5F2662-8A9C-4CB0-BFA7-CA7BE5EAF0BF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7533" y="2391720"/>
            <a:ext cx="8608079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2F2F2"/>
                </a:solidFill>
                <a:latin typeface="Gill Sans"/>
                <a:cs typeface="Gill Sans"/>
              </a:rPr>
              <a:t>Did the flood make your schools better? </a:t>
            </a:r>
          </a:p>
          <a:p>
            <a:pPr algn="ctr"/>
            <a:endParaRPr lang="en-US" sz="4500" b="1" dirty="0">
              <a:solidFill>
                <a:srgbClr val="F2F2F2"/>
              </a:solidFill>
              <a:latin typeface="Gill Sans"/>
              <a:cs typeface="Gill Sans"/>
            </a:endParaRPr>
          </a:p>
          <a:p>
            <a:pPr algn="r"/>
            <a:r>
              <a:rPr lang="en-US" sz="2300" i="1" dirty="0" smtClean="0">
                <a:solidFill>
                  <a:srgbClr val="F2F2F2"/>
                </a:solidFill>
                <a:latin typeface="Gill Sans"/>
                <a:cs typeface="Gill Sans"/>
              </a:rPr>
              <a:t>Michael Barber, to the Pakistani officials</a:t>
            </a:r>
            <a:endParaRPr lang="en-US" sz="2300" i="1" dirty="0">
              <a:solidFill>
                <a:srgbClr val="F2F2F2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374373" y="1844842"/>
            <a:ext cx="8341838" cy="0"/>
          </a:xfrm>
          <a:prstGeom prst="line">
            <a:avLst/>
          </a:prstGeom>
          <a:noFill/>
          <a:ln w="571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181039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0"/>
            <a:ext cx="9139535" cy="6858000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B2B2B2">
                <a:alpha val="50000"/>
              </a:srgbClr>
            </a:outerShdw>
          </a:effectLst>
          <a:extLst/>
        </p:spPr>
        <p:txBody>
          <a:bodyPr vert="horz" wrap="square" lIns="91440" tIns="118800" rIns="91440" bIns="118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93675" marR="0" indent="-192088" algn="l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595217" y="5560515"/>
            <a:ext cx="8544318" cy="65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en-US" sz="9000" b="1" dirty="0" smtClean="0">
                <a:solidFill>
                  <a:srgbClr val="FFFFFF"/>
                </a:solidFill>
                <a:latin typeface="Gill Sans"/>
                <a:ea typeface="ＭＳ Ｐゴシック" charset="0"/>
                <a:cs typeface="Gill Sans"/>
                <a:sym typeface="Times" charset="0"/>
              </a:rPr>
              <a:t>The Elements</a:t>
            </a:r>
            <a:endParaRPr lang="en-US" sz="9000" b="1" dirty="0">
              <a:solidFill>
                <a:srgbClr val="FFFFFF"/>
              </a:solidFill>
              <a:latin typeface="Gill Sans"/>
              <a:ea typeface="ＭＳ Ｐゴシック" charset="0"/>
              <a:cs typeface="Gill Sans"/>
              <a:sym typeface="Times" charset="0"/>
            </a:endParaRPr>
          </a:p>
        </p:txBody>
      </p:sp>
      <p:pic>
        <p:nvPicPr>
          <p:cNvPr id="5" name="Picture 4" descr="P1000736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612"/>
          <a:stretch/>
        </p:blipFill>
        <p:spPr>
          <a:xfrm>
            <a:off x="17831" y="0"/>
            <a:ext cx="9144000" cy="530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03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"/>
          <p:cNvSpPr>
            <a:spLocks/>
          </p:cNvSpPr>
          <p:nvPr/>
        </p:nvSpPr>
        <p:spPr bwMode="auto">
          <a:xfrm>
            <a:off x="0" y="3839022"/>
            <a:ext cx="9179719" cy="3018977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xtLst/>
        </p:spPr>
        <p:txBody>
          <a:bodyPr lIns="0" tIns="0" rIns="0" bIns="0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9699" name="AutoShape 3"/>
          <p:cNvSpPr>
            <a:spLocks/>
          </p:cNvSpPr>
          <p:nvPr/>
        </p:nvSpPr>
        <p:spPr bwMode="auto">
          <a:xfrm rot="1067061">
            <a:off x="6039894" y="1406502"/>
            <a:ext cx="1696641" cy="1696641"/>
          </a:xfrm>
          <a:custGeom>
            <a:avLst/>
            <a:gdLst/>
            <a:ahLst/>
            <a:cxnLst/>
            <a:rect l="0" t="0" r="r" b="b"/>
            <a:pathLst>
              <a:path w="21933" h="22272">
                <a:moveTo>
                  <a:pt x="10967" y="0"/>
                </a:moveTo>
                <a:lnTo>
                  <a:pt x="12608" y="6556"/>
                </a:lnTo>
                <a:lnTo>
                  <a:pt x="18016" y="2605"/>
                </a:lnTo>
                <a:lnTo>
                  <a:pt x="15123" y="8699"/>
                </a:lnTo>
                <a:lnTo>
                  <a:pt x="21767" y="9202"/>
                </a:lnTo>
                <a:lnTo>
                  <a:pt x="15693" y="11982"/>
                </a:lnTo>
                <a:lnTo>
                  <a:pt x="20464" y="16704"/>
                </a:lnTo>
                <a:lnTo>
                  <a:pt x="14052" y="14869"/>
                </a:lnTo>
                <a:lnTo>
                  <a:pt x="14718" y="21600"/>
                </a:lnTo>
                <a:lnTo>
                  <a:pt x="10967" y="16009"/>
                </a:lnTo>
                <a:lnTo>
                  <a:pt x="7216" y="21600"/>
                </a:lnTo>
                <a:lnTo>
                  <a:pt x="7882" y="14869"/>
                </a:lnTo>
                <a:lnTo>
                  <a:pt x="1470" y="16704"/>
                </a:lnTo>
                <a:lnTo>
                  <a:pt x="6241" y="11982"/>
                </a:lnTo>
                <a:lnTo>
                  <a:pt x="167" y="9202"/>
                </a:lnTo>
                <a:lnTo>
                  <a:pt x="6811" y="8699"/>
                </a:lnTo>
                <a:lnTo>
                  <a:pt x="3918" y="2605"/>
                </a:lnTo>
                <a:lnTo>
                  <a:pt x="9326" y="6556"/>
                </a:lnTo>
                <a:lnTo>
                  <a:pt x="10967" y="0"/>
                </a:lnTo>
                <a:close/>
                <a:moveTo>
                  <a:pt x="10967" y="0"/>
                </a:moveTo>
              </a:path>
            </a:pathLst>
          </a:custGeom>
          <a:solidFill>
            <a:srgbClr val="FFA312"/>
          </a:solidFill>
          <a:ln>
            <a:noFill/>
          </a:ln>
          <a:effectLst>
            <a:outerShdw blurRad="165100" dist="50799" dir="2940030" algn="ctr" rotWithShape="0">
              <a:schemeClr val="bg2">
                <a:alpha val="18999"/>
              </a:schemeClr>
            </a:outerShdw>
          </a:effectLst>
          <a:extLst>
            <a:ext uri="{91240B29-F687-4f45-9708-019B960494DF}">
              <a14:hiddenLine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30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866" y="3312914"/>
            <a:ext cx="3393282" cy="205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3195" y="3339721"/>
            <a:ext cx="2964656" cy="205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5" name="Picture 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024" y="1321594"/>
            <a:ext cx="3170040" cy="1705570"/>
          </a:xfrm>
          <a:prstGeom prst="rect">
            <a:avLst/>
          </a:prstGeom>
          <a:noFill/>
          <a:ln>
            <a:noFill/>
          </a:ln>
          <a:effectLst>
            <a:outerShdw blurRad="165100" dist="50799" dir="2940030" algn="ctr" rotWithShape="0">
              <a:schemeClr val="bg2">
                <a:alpha val="18999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1566" y="234863"/>
            <a:ext cx="8794113" cy="376834"/>
          </a:xfrm>
          <a:prstGeom prst="rect">
            <a:avLst/>
          </a:prstGeom>
        </p:spPr>
        <p:txBody>
          <a:bodyPr lIns="92549" tIns="46280" rIns="92549" bIns="46280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00000"/>
              </a:buClr>
              <a:buFont typeface="Arial" charset="0"/>
              <a:buNone/>
            </a:pPr>
            <a:r>
              <a:rPr lang="en-GB" sz="2400" dirty="0">
                <a:solidFill>
                  <a:srgbClr val="000000"/>
                </a:solidFill>
                <a:latin typeface="Verdana"/>
                <a:cs typeface="Verdana"/>
              </a:rPr>
              <a:t>Elements of the roadmap</a:t>
            </a:r>
          </a:p>
        </p:txBody>
      </p:sp>
      <p:sp>
        <p:nvSpPr>
          <p:cNvPr id="12" name="Rectangle 1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6371" y="3822826"/>
            <a:ext cx="4571166" cy="31485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02843" tIns="102843" rIns="102843" bIns="102843" anchor="ctr">
            <a:noAutofit/>
          </a:bodyPr>
          <a:lstStyle/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Data and targets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District administration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Teacher quality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>
                <a:solidFill>
                  <a:srgbClr val="000000"/>
                </a:solidFill>
              </a:rPr>
              <a:t>The enrolment drive 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Additional supporting programs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3" name="Rectangle 12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979414" y="2529817"/>
            <a:ext cx="4399463" cy="38584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02843" tIns="102843" rIns="102843" bIns="102843" anchor="ctr">
            <a:noAutofit/>
          </a:bodyPr>
          <a:lstStyle/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endParaRPr lang="en-US" b="1" dirty="0">
              <a:solidFill>
                <a:srgbClr val="000000"/>
              </a:solidFill>
            </a:endParaRP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endParaRPr lang="en-US" b="1" dirty="0" smtClean="0">
              <a:solidFill>
                <a:srgbClr val="000000"/>
              </a:solidFill>
            </a:endParaRPr>
          </a:p>
          <a:p>
            <a:pPr marL="1605" lvl="1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endParaRPr lang="en-US" b="1" dirty="0" smtClean="0">
              <a:solidFill>
                <a:srgbClr val="000000"/>
              </a:solidFill>
            </a:endParaRP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Punjab </a:t>
            </a:r>
            <a:r>
              <a:rPr lang="en-US" b="1" dirty="0">
                <a:solidFill>
                  <a:srgbClr val="000000"/>
                </a:solidFill>
              </a:rPr>
              <a:t>Education Foundation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Media campaign</a:t>
            </a:r>
          </a:p>
          <a:p>
            <a:pPr marL="658870" lvl="2" indent="-194438" defTabSz="906289">
              <a:spcBef>
                <a:spcPct val="0"/>
              </a:spcBef>
              <a:spcAft>
                <a:spcPts val="1224"/>
              </a:spcAft>
              <a:buClr>
                <a:srgbClr val="0000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Innovation Fund</a:t>
            </a:r>
          </a:p>
        </p:txBody>
      </p:sp>
    </p:spTree>
    <p:extLst>
      <p:ext uri="{BB962C8B-B14F-4D97-AF65-F5344CB8AC3E}">
        <p14:creationId xmlns:p14="http://schemas.microsoft.com/office/powerpoint/2010/main" val="301512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osTWR80.ZK694JxQU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pGGkUaUmzXC0Jsi_I5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wNZisaR0WkYp5nRmK1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51ZE92R7U.OAnIG3q9C6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cXPeVhECU.dZ0DRC26Zc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Eruj06sUGNtk99mJrIV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1RhX2xO0qAkr3gl_cai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p1SkQg4kuSd69OxDOv_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11_oU8.02K6q5p.eyO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3N5cLNUy2FuRxaRCO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FhUS3tmUq_xHgSzDKDj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q0MIatVEWtWoNB8zdZC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.uLzhm0.5L246uMyk4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tioVGpsUOhZkrK4Zjr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zM8bQ3WkqxPaaah5Taq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IOzubJ0a0WgdlbMR6l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HQ_rNLs0uwnDCuuM08z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sjNZ32hEuKrk.GASqn3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40LA7.F0CU2H1I0NXW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b62KxXxkCFRVuiJvVK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kLtJRpLUCeBQbf7UUm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a_hSBZ5kUWRwSYopbMgn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drO241.EiIpx0bpuDE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2nsYS.dUOOb2SAuDGK3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Y3EdguX0q8MnVbpJ2M2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QJHiAgEKfk1fo3VMSO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RbbADYf0mD6Mlovp3K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_SeByqhei02fEmVhelE10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GWuBkrQ_70qfN6O1Rf6G.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GlgCZ6PuPkmKdms.dhoXo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GCpYA.bEih4et7rw4l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0X6yhLuvekOg3kpMRbAC0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mu1cvvzkqmBvG6ipJr9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QwakDID.DEajnFrniPQ63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gh5rHFRu20uBBP8v_wPPe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dDkJ6wx91k2SrBgRxxsqU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g1N1y6xreUWz.ERcoXtfm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q5maW6NSS0y_S_QrlUz3t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Z8.IZGkVVEy9mmqNrgD4m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YXKh7YdLA06_.hZNyEKl5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0tN7XMB0G0C4ibpevCEU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lFn.CBEOmAHoiRSSc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3rw_XhEyYDe33EZwHq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DjWl0.r0OuMRizoB.8K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5ZewmYWEW05VwMRkrB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W7bxKyrEWLwcpaMYai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ZICWbiskG5zB9YyxeY_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5.iAHBp1MECUvRJJcGmsE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C3xdvNGXyE.2unBHbLF5s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zHynW2rh9UWO6nW_UXFHv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TRY_FoBR4UKn3a09oEl1n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FCaXt.loB0eyHBTEzI2G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U2jHoJ0O61bs2SHen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Zawof4pUGHCjPB1_OO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0aEOTMEuC.vxJGrlV9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7M8UmqR06T5u3zpfHO2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fA_HvAccrkaL.xsMGX7QU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ppTO3TxUx0.lXhGARX0x2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EzD6tRYiBUWu8xkpbhDOL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a.K70KTKqUWAVieq13QRM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wNWUmfT0mEvwlvw.1a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IfDRBG0kiMxFJVNnAH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qH3yI5mkepqZUW9Jv7u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yTrhgzdyUkms9PdAasYj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kyuiAshU6lT0yEzDpD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P5JeepdhqEGZUssu8uTy0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R0HY.BUEOCEnPkhV4rP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FkcuSYke8JACe36awA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VgKeH4.gokmcjIPxy5kju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zyLO59ikObhtPVo31aV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wRX.U8rEiAksLclnKnE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W.xIoENkSSJRLEaEiX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roNrea.0.v9ZhmJabJm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wx9EQ9P0WPMqNqmgavM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Pe8UR.P0i2qMrRSDSYu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_osDpVKUK0wNVZVSJHW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d9rRanFUe4Q8CBLZNEl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gHWb2mpk6lR1rA5a7e8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5quGmJfEei_NHqqZFss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_PtMgaaEy1aIwPXmFO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Kd.js1VUCwNepymTfyY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DCFebIM0uu9aB3Naj6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lTFmBo8UOoEWEiErv4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iLvZV6lU.nlIgv9.L18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a60VK_kUeQ6487aCXOH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UkI_663U.Z0Lpk7TLxY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.66KUK0WPWH4rvZn0X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Uioig4CUyvJ9P7aIkSM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aoocNYf0yRtWVvlBMNQ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hPMk4iUqyinaEjW0O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.RqE36U0eXzUVwzVynD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XKfO01wESPgJDBFpojl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vk37VyEGeIlX9iPHUh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7Ty7Xbpk23LNH4E0Bo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0W_T0FUCOahtum2Ckr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ikH7TFIkS60TemfNTiQ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_8fJcKa0u9zhJy2SZJF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6drkJSKESvsYPJnBhdl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KzBw1A.US59xgV6bfYi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BNkmbkCUesZHKoZLiHG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1GgP0w0kKKY6O6b_sv9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ISE6iP6UGAAvZh_BxtY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tX2eppEkyL0xBnrepz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AyPw4g20aXhcr6TRlLm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3nFfrWv0CZz_G0tJ1O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qhbFj_4kW28Wa2IxWK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pFCW52F0m5NUydT3Hbj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jzqfV7vEi3LA1d_efwv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qUKPpVEyg0Dl41A_wO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HG0sdYaE6__UEj8Qyla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eQs8XSUkarkIGZwzV64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NynJookUG1mkR2Yc2zY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whEUY_0esh9kuMXRuk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fUITPHGU6gBv1Kw7j0s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CrgSb6kEeir7dg.KWxZ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jC0xjifU6RO68Wkgd_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aZz539kqZaqQ3VQd6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zyIe0tFEObblNz3rkhW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ryhvSBfUCw3I083h9rj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VtGfQ8sU61AahMb6D1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zBo71.kEmAI.roSG9SB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0MNxmhjkuTqtjBgC74f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zRzlhWgUiJNMaK0VT2Q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knhpTG_Uy7PI8zTDtcE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vyf7yWSUifnME.L5l2q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1DJhk2U2eEJQwgZOE0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lHIOlV_UGORNR5FObf8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h45oE2a02qPFw44Fno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oVos5FRECtR3LlMC0Ap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ZeTXFyrUGH3tOjxJ644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tJzT5_LEa8LyZeUMY3V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XtX6yz6kCPUR4rYE8vA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ysYt29rkqmh95xSvOum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TWC5T70OBzDGsIwIDw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TZ4jJelU62e.O_r9iE5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RsjXjXTUegLn0qCOfQr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vtR9jUN0O7SkogfjpTw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AnmamJmk.CBfks8hts4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QBLvxTME65v8DTND4h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Y1iQelPkKYC_._rgApF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3YCgMph06.mDp0F5AdZ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36_VJh6k26.E1Y_ZOG1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vTf7HZqkqNn0OFfHZ6b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hLioKghUSiAxmPFDs9X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3.obAwkaNu0bsIz16P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Kk_a_AykqrjIt33w7PC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g14cP4sEqiVaOH0B0rH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SuaH6N3U6QWLJVcyEkG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VamOVQlUupRj8uCl3b.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CPTNu_AECiedtpg84P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TXMj7nf0qU8rXMatRx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z5wWPvQ0.3tXQTG.aP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Qt_qYF40msg7CSgLhPX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VIDrIaR0GGhA9dmX8JL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M_UU4GxEGHtueLRetF6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.eATfitUq5San4ACqh4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3tYCSLNkWrpxLijBQBq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y2oWLzQkicMrmYwQjeJ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jCii.Hv0mBc64XSgpOa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D3IPWnzEqqcsIckBLp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GygdjxRkmCbgMkpDwJ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Uc4dpivUeR9VoCgwTQe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E744.hkSBKU60Jo7CJ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fqpSBwA0eRjeZPIdKrD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ILl18SUWoYL44QFUH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OeFgDYMkiQB_Lccrlr2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L2W5p7KUybXKGJ156He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t82i6XGUChkB9RLRkKZ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qAQPQ_hUWLKjt9T1WDP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GBY4B2.UWE5eGixzOxm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laQSN_Y0eZ0ZyOcwkrb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GOtrPkYEunwT7HNhmh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JzjS23kivSCBjwmw9J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ugBEWJj0.pdepnxRMnQ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Uc_nKCQ0u454JtQ1K48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ZW38MbM0u8dM8NeZz7l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5HlyT9C0qDRD8UAUTGl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JW_ir_Ck2LhS72gcsIW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2UtG5gUEGcbuaY1ihAU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abCoUVRU6jzKlbOm2ha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AdGq0cuU6TgXslta95j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42NVP0gU2bUfguSRgRM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MpJFnumUWda25_DFIh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CclumPfkeh6wfe.Hk5m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v2g9kvSUqf5W8.IWiiG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HBZx56f0irKg4D2PZZC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flHYgvlkWdpbDF3XM1x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clB3DQIk6YkHI_7PzXI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74wg8kh0ePtDuR56jlr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H5mVW_Uy8NtqBhsXTU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Z6UL0OXkGNSRdNPtSo2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kVbwjCfkeC_6IV9XTRt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MaQ9Y54N_kq4z3uUJ8o1M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cSamgMNE.6FK0l6K2V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xQAUiIH0yl2HE4O9BoK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C6mt_IQMU23NvrCzz8kd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nJk32aNE661_Mof6xpu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VfPTFoUW1Uavx2cvGz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RBjjHBo0SoXRI.EVDA2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hOX.lN8E2eWxnPNpjpB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7z0D7S6k2LYYTBMa1te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I0AuMHXU6BjBFDslowd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xlSxX6v0a4gNh.8tjYS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awETEFmEanyOQdwnoTH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mTW8bQ0EqSn8LH9mqp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sm111DO0Kunmw.2SbLI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7pW_JuIkOfid7TOvBHJ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osTWR80.ZK694JxQUY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pGGkUaUmzXC0Jsi_I5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wNZisaR0WkYp5nRmK17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51ZE92R7U.OAnIG3q9C6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om6yCWkk2FLXPN3Mbi9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VsnKic0ubbgh0uJeF_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zIK5Hw0Eud9066Y_VV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qhbFj_4kW28Wa2IxWK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gm5Gt0fEWe.RJxrA3_n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1cAkKK.UGKdQFSmiY5l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H3GvHMdU.x_0a7Tk9.n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tJEijwy027k5cY3XdLP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ddKonUEkaaRYKDNkAOY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mWMYfsjUurBaLVQL8ne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N1xmaBWEO3TAatsydF1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.OrVI.jkqma4qDzUn6M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OdQT.zIkSbbxyyb_M0t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LBH2DLk6OOj6T32rho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0GfEWs5kGrFsPNQCD7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83R9vqkylbPYmUwtec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kmoMwhkkKSivl6qS698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MiiDIeqUSAvB7W6rZN1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b5Hyf1LEamt7M83Oxf6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LpYMjtTUyggDIjWP67l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_PjxAMMESslJcjkMdd4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fP16j7q06RlsgLPF96X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h3VI15nEiVT2a3_nQDE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8dQgRTXUG6P3GA0JQOE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xYGIyhkeMeUBcMM8Dx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R6PUEvEmp8qZ8JKpA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NMIO75ikSgnUP891nHZ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Qqo7Qd5k2UH4Vvqgar6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0lV.HMt0OVzxBWADa.O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VkfHsP_kKg3rlkvw4Tq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ASwwjw1EKt7LRQWBlHi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ROmW2qtkqbVO7K_0Xx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pMm7Yurkel_3AFqDhk2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TA5WIfk0O3tecY27d3m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Wc6LpfqEuKzQiqZLOy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qTFQRAWkO7ZHzBjpj67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SjF.U_okizDDqAWunf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L9yxZcGEm_UHKGIbkGy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cXPeVhECU.dZ0DRC26Zc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Yvo4RItUiAnI.cWHTf7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kLtJRpLUCeBQbf7UUmi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drO241.EiIpx0bpuDEA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2nsYS.dUOOb2SAuDGK3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ab5ZAr5U.d6bgHYXh0F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vhbZpFi_06F2Fzf70oDm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Y3EdguX0q8MnVbpJ2M2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QJHiAgEKfk1fo3VMSO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RbbADYf0mD6Mlovp3K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EwKzgLPUGAPw32lo.io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7pW_JuIkOfid7TOvBHJ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osTWR80.ZK694JxQUY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pGGkUaUmzXC0Jsi_I5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51ZE92R7U.OAnIG3q9C6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0MoX6A_HUeSwqQb4qMCZ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cXPeVhECU.dZ0DRC26Zc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wiVN5dZESfTERvC6AqB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cXcUN.U6WAg3nI8gn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i8NKdLjEyz2tz3MuM6w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Wjt3EIEkyMSceINjk1Q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ScAg3KXES3AjkmxG.6n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p_VB3UUSO51lm2zyyo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0h31BlUEGHE95HUBxk7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4rNNUgX0.Yvd97PjlB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v68bkPGEWYd2_LYoxe6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.vq6OAkK6JwUCUUgsu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EL_NqaKkmv8_7UAYO0L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Ri_Asq0eXMd5sN1vwU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XHzYE.ekS7lMrvRIUb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wLMj1oD0GtK3XpmUNyr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_nlxitlkmxNjcFXAbmb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9VByKOvUGsQzdL_RkcT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_vSBcU7kC0gsKDc.qNc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Fw0c3tR0a.sBd8dWMPT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cDIn_bhUCMdcEf5DKjL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zEKWboTkW8PhaX7hCWb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eshHhkuEO8lrMHywcZN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AfYFWB7UOh86jAT4pt6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JnsXfbuEGhxGJPRRZC6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CcmxCVFkyqwzcFTqA8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c2pPy2a0m.mvk.e1sgh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cxbC2vHUO7biFtAkl7W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Clc2W5iEK8PeuLzGDIL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7pSWyHbUeleJ9sAh2LK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_MZrZe1UGw76z3hfrE_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eEn2N09kCqMBjgnis.H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y1xGlspEy.MlSD9Fx8g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yptj2Oke6VSYPW7jsN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MHhDRVNEORMVMZ6aLIQ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dfOe5h2065DWc27lZZl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Nlo9dKcUa91PXa_KPk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jouWx5kKud2tyq.zbl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j.O5gM.k6WL6_oXTb0P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YidQZF6kq34OBXTTV3f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R5YG8sL0igvgbMrGcpu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STcXZ4fkKWDJ7vn_ZGO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AgC3eUqE6ocOoIN9skz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UeEE5ZD0m20X2CKWc3Z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aN3BPszUuLk0qN1AwTU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QeFEitz0id74GkjU7Bc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FdQt1L6EuWDhZAcf3vq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MPkbl09EaLTjmB0mJ6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UVWnTG0.7Ahe_pc71i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BMznIkq0Gq2FXkGjrF1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VGK2df0KBhX_3n9Aj0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3kHytZ0kOWSGpJDAwMp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uHsCjgRkKSzjsfx9VqN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pZid8jME6YiHkmdtCpk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9g_88zJkSSCx4UxXM82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T8i34Jzkm05YJ6gWEj7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dDn.7Je0OrcFQ5i8Erg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ZJWDBc7EyarLPEFceup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CZrYO6bUeopHJbBmjF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0GNOi8.EGt4qS7hQlRc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q_DEpyOkKHZE48nuG0m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EDKJcRCE68Svw_Mg73w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5Oqri4_EWNxYFgSkK8s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NXNZBvbE60SXkAjIrby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eDTjkEnUmo.rfqQ_O68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SmbVMlyU2lx.s4uP2c.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E.pKPATESDkNyiCfIov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v6774MnUmfgAJLhnxC5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KkyGKbI06dNxykUtuBC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O1IJLeQ0OUqRYEQFVrw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36kZcMckqYQRrqE1l4k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Z0tDr.BkeNBrYL68a1y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JYlbz0uUaCTo_FJk_Ar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2c52vrpEC8wejJyWOpP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461JnxmkuR.dwXX3KpC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dFY7nsi0SoTTEDcbexS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wEEXa9kSAhqG3OWEeC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CoAdXElE2xmhgBI53T8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RQXkZ.FEufOXXsTLVlp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sFBttfB0yAdnCU3iJKa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uHppsbuEysv9WcfHra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AaKEusxEyYJN49wd.2F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xtb7EJG0qCC8reXwXwl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AzS8_ezkm7NVE4FhZmM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nSUE7gnkyqMUawqz66l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BK0FOHhEySUBKU8bXws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.Ms7Z3KE.MEPjPypGJy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.zZ0Z4wEGGRBXnD0KZW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uKFVcsqU.Hd9cyd3HGI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kbOjPh80yKe4FTZmbhG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Pe2aZRUaPL.7Lq_pa.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9OMieQf0yghwU6PENI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y.azIoPUSMKDt6Abf8H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RkTmHEUKGDPhZ_9m8w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T8Nz8.M0K1YgseQeF0q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n4wA5y2kaztZZcqzEki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U49zzdJUyd6poGsn0lA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vZh9LJCkacVQvm1YxnG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IDGbNhJECaN0CRwxyU1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tbY0DVXUWiz_5SlB_JL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3ujVq.HkShVR4fX3Jku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tnKurZ8kOHPIKbzpwM7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cWjI0kJE2jhhkvoH2km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Pdb5WjdUybOb84xLPz2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o.figrk0id2v.2gkVwB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f_I0RPlU2TNwFmfRUwN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LkSUXSDU2rA2MYJmd5H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.WtgXFe0qvxtHg_Ppi0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WkaWHRlkKKC8Vdvgsag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EvlbqUki2ZPlBzxAGo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Mi82_pHE2lKl0LujErw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zw3YsdMEKNMpXt4joaa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LGYLxXGUyhJ.5b3fQs_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yw_.SNtUyvPM8oDbVK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Ddl7zlikaZh3L9FzTcM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_nbjh8Ek.0mkW8VAnyL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vgZslq40eL7Up0k.Eux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ZxA_LsXkehsoAqkoVvv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ImKwPfC0aKINFOhr98C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kiYxlp3Uy.j27Saez8O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vtJkJNVUSoRWdTF_CA6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.tuCJC.Ue4QN2REErp_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5QzYgI30Wc38atRkBdP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ey.La1FESZe.14HC0da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orX8HxqU.3bFVEuAxD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YYAkRKn0y11uPsQXFek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LVupeUu06ZLWUh8lTVw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.KJTy.ECRVhChWYX3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kr.zhCi0yySwFmvigXS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vnHC.TfUSSmIuOyIGH.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.GVbM1cU.P1kXMvvZEO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77vHQTY0u1IKUhe1xTi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uZLSAsNkWcA1Q93dbeK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mnWKG2PEGXzCmje5KxV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hc9YmlFUmCBeB5s91M5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i8hoHegUe0qpaT1YhJ9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28_nPaa0GOQpgO7R.dS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mwQYgRPUi..vINfFogC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TztqchUkePHEdYA2btB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DySWRwFk.o3mLhrzARn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UxIqHM4EuZc7dPaQyqQ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JYHUiOQ0qRKPq789icN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uRpIjs0UuN4YGH.9cGF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n0wi9A0O1BK2eZcdyV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ZEZmTOLk6.wFHmUe8Sz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tdfW9IkWMRHNO9xxc4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5Pqhhte06W6kQ1t2zk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QLTuzGmUeYxLkzmSMxG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_MHIA52EG_V88.oIOCn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ebNEjfoECttwnXthnVl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vG.V2hi0iL7TMks8hrj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UQCmcc8kOCdqNNzNlN4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4FNI_I6Uq.fYUHiP05l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6iik76OECPndQl67dkB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bMiidJ2UmS6iMCSFmqq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nYqBdJAUazesamTyaaX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WQfKTei02pHWYmXjNwi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L2bOJ7cECQzsAV_PaL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PXbOLKkegbf4udCBeK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O8gpde0qIKVD5FrYoA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A.92KeEGIeOI.Cjsrw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1yu4q6kS7LiRv1H0XP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3IqLq0m0utuIzz666nR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IRqIk06kKTJuwmfqPeW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d05dHFUk.BefbmLzafO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jICRxlP0GIheN9k3yVK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6lGF4j4keQanJkNIGCw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VjpiqEEUqC2bN.ipHe3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9eV4X6P0aLZjYNi6lu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zUOEV4a0.3rY8DhPIF.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iMfJciKkirncTUD6ZZ9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dVxPaCcEK6OFvLA5dJ_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atIQAdbUqJsiKra0y2f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ZgUDLUr0C58ReU2gpf0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akq7J6ukmbpfKOykwsS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LHKdUIB0ezG0_VIDA4C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EdK0whFEK0oc38o4Z46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yBUZ0890SZEDa7fQflr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D.udoi3UCCp7c7m1ZXK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cce0Pux0WNZecy3RQi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yHVRkuiUSuupwZFjJet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.JGL8KC0GQo9xZJDopK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oXQYv2SU.VbeGVtFVt_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lJubaaEu_1QcPKqmuY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YdFRUE.UGoFprU1zvz1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JcbHC_p0CM_61xval0v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ZaLZ.p1E2Qdus7B3U62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VLJZhe6UGalNG_6py_S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2e1Bm20ydV1lHvyYi1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a13Kyb2EOySfRERuuE2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4kHQj2hUGS_8DQpAX4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rfddVyCEO7Xb.o_2Fdc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Oey1CFXUmG0VFlU9_IJ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n.49.WhEewprDjboaoI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BOwmqap0mJi0pRto82w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wwqYSRhkaKN69svpRcG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csQ3Ns0GSH43lKp1tQ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bTbXvq8k2sDn0fKX6ci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yBxHDTPkWfl.phYdLuF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zuW5HoV0uUUcz4CNUXr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4pxDyWskq74fkLYblAq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sv25DHs0GIfAmtcgOt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BEX4rXrU6YOPK63Qrl0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h6wSl6T0.hU3BajeSU7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SrbzL72E2_nQVvgV0aF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70qaY8ekSLXxOrA1dSD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xg_jH43U6b0HeBBqinP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XhkSKTWkautTRDNwZdQ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RnNGSikKHOHxzhVUu0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KYOhJhjk.8SKHAvIp__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6_oFr_kCR7iHV7zX0U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L7s_.iNkebDlmftB4KG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UmwM7byU6X6p1ydE7g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y0wYckWECdSt_ofR6gG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ABtT.010OHJ3AIZvrP6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uIPRJlskuTfRpfqikg8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YuSGvw.EK2CwU9yueLw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SRPmFhhEOFAxcHq.m37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JV9qOsEWe3Yp3ZTz2D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GofrKGiUmnI7Z_Le2Un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hH7yC6kS.oXQVCX46t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nKmMOZ_0CTkgrMeu23H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Xj9_cx0.2Hnlx719kl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zvoWKxQkynAfIyT5Nfi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yuWOQka0OphuDZe2ELq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WNeJ9En0mxs7v0WhVIr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Ph2rm9U2ouEDuHCLD4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GnTJvcyUiCu63nq1_hn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F3hOXckECgWhZ3DmlaY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vS6j8ugkSIdDOJSyoXV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JTOZ730GrTPNM0WlGd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61scJi.Z0O2DHmz3C2AA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zYLnUlVkih4k3jZjeTE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3AIoYYuEKP77Yva1ehr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xoxFma0OwVdir4YqRV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4LPy_4GU2VOYKI0XfTK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unQ9dEMUyJGNdkrJyN_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uqItLmEkO_XoGwb4YU1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scsxm760afYeC8ea9Ma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QjYGfA.UqDkORd6.47d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IublLN4U.XLJlyzrP1Z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f71uK3GkSjfUZh1ZQ8k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0n_yWAPkWxBnYiTnahe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c7nEPd0kGlGnIfapDw7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EEmT7Js0iqBp_cBJFv_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ie2zWXGUSE.njwDDP.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9y4qI9pUWeRFAOA0apf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lKw3329EuMs9TsDrKot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BTxNtIaEOe7kN_ZJb8p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x2OVuHzESzUbtcQH0HM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1uO0ikgUiYJ89V20TnN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SHyZdzEuNGU7LwT0Hq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SpoSKwTki.vdp_i4Gtd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d3VeX0T02FskeeHj3c2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v7vfMM3EKKcEi3d9DPi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f82vq_l0Gx_BA0T1ZLB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H.0M_VRES0X8WK16yZ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A_bqDjtUmg.tlKW7lIL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vzBrbhakuISETQcI.U7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NPQgWXdUOUS8CAXc3MX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3mCUvH2EyBvMH6ZKN17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m0OjKw7UK76Q8TwGXrB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MpJM4bUWUQyhaQttK7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mJ76VP80aX3fAc210xA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WMREJVhkisLaDmNp3a0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0cvGD1DEmotiu3L3xrO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1lAF1A3kGxIEYb.XFtZ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7pW_JuIkOfid7TOvBHJ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osTWR80.ZK694JxQUY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pGGkUaUmzXC0Jsi_I5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wNZisaR0WkYp5nRmK17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51ZE92R7U.OAnIG3q9C6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SjF.U_okizDDqAWunf6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cXPeVhECU.dZ0DRC26Zc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RD.SC4nkeaGmCeqDv32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vJsYZxnU6gpLPttLt2r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zcpGGXYEqz...1efCH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NNgaI5REWU_gA33REx5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DI_BTyr0.XvM.MQpCSx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F8pWEdOUGpRqkVb02fq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Q5KuaF90qdR.4JVp89o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iZ5Iykj0GuAk9k3PgD1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eLlAztCEednRex8W6ft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tK5sGMFEGk3EIHwa7Ps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fWkKUNJEaxVxJECJPnW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2.geFxj0OHyf.mGZqJV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_6iP5RL0e0FITbx8Y5m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ZadaSjUW570nzL4kfq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8EmOESk2rGrJtWBWs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1_fXRXakKRc.MwblB87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hnWwYoUuNY1KOe5MUp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YRK.6m0yir_a3FkFgp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WIL0Q38U6JUACCLx_eZ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dc9YAu_UaWVPLu_Ub4o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6Uu9FDr0Kx7d28galCx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74OLurn0asVeyZZAybZ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beNkY.LkiF16h0DciUY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sgmaKKJ0SVPAr6.toJ6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71HeAbzUWpDRvJYuXYi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eqVLpZrkmUjOKvJeKSw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4zE7AkC2vLSyiG2nc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TOwm_BUykbteiAJpVP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LPvs3F2k2MT1jsOYR8L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bx4b6MwEG9N4TQWyYGf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BihwX4Tk6ZL.iLTQWHS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tG.EP9LkOXLWr.u7c1I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s1NnRPWEOxYy4wqxSBK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.Tgt72akG9PCsc3Rd.5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_2I7ChEGtNxjgri5Ha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k8qpYkekCxAk0uAPKeO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Yvo4RItUiAnI.cWHTf7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T41.mtPEihsWxnjjQ2z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kLtJRpLUCeBQbf7UUmi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drO241.EiIpx0bpuDEA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2nsYS.dUOOb2SAuDGK3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ab5ZAr5U.d6bgHYXh0F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vhbZpFi_06F2Fzf70oDm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Y3EdguX0q8MnVbpJ2M2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QJHiAgEKfk1fo3VMSO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RbbADYf0mD6Mlovp3KZ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yzhmn1rkU0WiuWLtBcc3b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7pW_JuIkOfid7TOvBHJ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osTWR80.ZK694JxQUY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pGGkUaUmzXC0Jsi_I5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wNZisaR0WkYp5nRmK17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51ZE92R7U.OAnIG3q9C6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SjF.U_okizDDqAWunf6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cXPeVhECU.dZ0DRC26Zc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4qBccYfU.jzMPbuNNPq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CPj8Jef0.TmZdrcdF.n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SAIr8bf0W9JMthhwRA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3TuLGGdViUiByosQx8MXg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Vna4X9Q0uxkpd87Dl8W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hN23MLsUax6Zkucvjbs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qSnZRE.02rfiSDWOuZa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_eTNe8gk67z9RypFSs8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UtiqhyUOticQBvty1k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OTZKu_km_5XBYtQ2wX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tSyjMCo0e8qh.W0HCdQ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qniK2sd0KMzoyztFiNP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VN0oDeZUKEuQ1XsjaL6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5EDzgiUGXwgcXg7bJ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9ZYNCuys4US2YbPWvfMmH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9E.oQhmkOyRed9TvSXj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stoMsmF0i6DE7J04qVn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9wyzqO0avyuiJ.5IHm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H3TkJ43kq2qyzaPUI9m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Enb4l0Ui1pCiuV7S1v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kAs5OnEWpPvgZqSNuI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eNEdyXQ0iqabX6IyTY5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J4m8OGEEOd8CQfEm0wW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B1y4PCY0a_dm2GfcbLf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HzfMqMkK9olXV9Vu7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OXKkfjVwSkKcCQzuRJtsE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I4XCx0ZUqmRWSy9PzcI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sFVkKUrE.3WCn56xxSz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sHTgtZjUi7w9rybmY1I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Ds40fV06gSpLGUsirs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i6qeJ98UCk8avLFUNTT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YnykcHAEONh6bNoZ0F6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FNPAd9vUeN.AvojQ8dH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gUHN9yUyNV0eNwWq8x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_8NaJQhE2Ex45M0_OL3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9dlri4iEKZ0j.Ro7g2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.tO7pLbnYkKX6vPeggW9B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BlavQNaEeCLrsxZIgEx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cHV9KmiUWD76ReEveX8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2DVT4BMUa1gPdeu.fmX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RLWSm1EW8HkiRxK5.3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z5yCnpkmuYJG.vfNFN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TxwtJfkuuLKGt0DWHP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R1q92kaEeBZiSS5MXVF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4l6gMhBkyee493IDU67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yfuSikckSpJxhbekqtI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6FthHV9kW.5xD7TbTj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.DJLCg43GUWy8DtiJ1ah2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WoneFR6UGXFFV4uBUry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dBbO8kYEWPR3UBWL6w1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wzBeoXM0STRbqzMoTCB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s0UyhmcUOXAUDk.nFdq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DeQjHJR0mJnpgnJuC6n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6WTRPUaky_o5ieGRdBN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4XQQj85ECByLlELMy8s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Wv06amPke.MFVJHlp.u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Yvo4RItUiAnI.cWHTf7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kLtJRpLUCeBQbf7UUm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iV60Gg_As0artaBmPnyg5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drO241.EiIpx0bpuDEA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2nsYS.dUOOb2SAuDGK3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ab5ZAr5U.d6bgHYXh0F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jvhbZpFi_06F2Fzf70oDm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Y3EdguX0q8MnVbpJ2M2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QJHiAgEKfk1fo3VMSO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RbbADYf0mD6Mlovp3KZ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97tvHUc0C8YOPrUG7NB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7bL6qsRUaUriP9svMV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KI1jdbpwQ0C.iOZxubmrWg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Qc85h80Op26_QC443J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CNRpMLT063rItgcY72Z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dZh_K5X0aHOyxmqqhir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bUqxz3yaEazTzOPq9anY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bB3WgfkGYR262dSMl2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eiIt_NakKullYX1UF49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80luvWl0GwgZAzRlu.q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e78xLXWkydMZWvyV6NWw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YNWuysq0K66w2k8oGcK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iKMvYB8ku1FiT6K1Gp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TuHyBg3k6HS5VBWVhwr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eo536XskyStCRjVu4_E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3uHbT7Fk2DnfJ215sOa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0Vqclx.kSkfLadD0BY4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xxPxmIkyUjSDCmSiE.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wMYd2MmkmxmgKKVDdig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DinE1dy0qd8.7O4wF7D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yBxR8VoECNQYv1IKQW8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MiCgiMbUOMCTz4jmcVz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cRyH8GAE.NuiP1lxxP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jkVs.z1kCzQsidyhSPM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fVApJ6R0O6F9a5Gh5Xg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Dc2IaT0ugdsSlYbk39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vCHKduxUuV4cLduk1gt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_dQoLx5EmEgcd3VhiGF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0y3RWwGkmldT9HSTFeS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bUqxz3yaEazTzOPq9anY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dZh_K5X0aHOyxmqqhir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bUqxz3yaEazTzOPq9an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44XxRPtgkeNNoEoAGpH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jel5sHnkGmuMZ2XgxCl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7pa3Of70SSUpAC2bmJ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V3237ARka62oGDvQG.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cU3JkuVU6Cdqu2wvJe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rZcrogMkS1qWWV3Qc8e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vaMFdk0a_6oz4Pmaf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HlQaQfEipPaZE2pMMP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6Aq9.51Eu7ut9jsi6nd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1NxNSDXESGNudKP1yF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V3237ARka62oGDvQG.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vaMFdk0a_6oz4Pmaf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7pW_JuIkOfid7TOvBHJA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Blank">
  <a:themeElements>
    <a:clrScheme name="Blank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CFFCC"/>
      </a:accent1>
      <a:accent2>
        <a:srgbClr val="66FF66"/>
      </a:accent2>
      <a:accent3>
        <a:srgbClr val="FFFFFF"/>
      </a:accent3>
      <a:accent4>
        <a:srgbClr val="000000"/>
      </a:accent4>
      <a:accent5>
        <a:srgbClr val="E2FFE2"/>
      </a:accent5>
      <a:accent6>
        <a:srgbClr val="5CE75C"/>
      </a:accent6>
      <a:hlink>
        <a:srgbClr val="33CC33"/>
      </a:hlink>
      <a:folHlink>
        <a:srgbClr val="0080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rgbClr val="B2B2B2">
              <a:alpha val="50000"/>
            </a:srgbClr>
          </a:outerShdw>
        </a:effectLst>
        <a:extLst>
          <a:ext uri="{909E8E84-426E-40dd-AFC4-6F175D3DCCD1}">
            <a14:hiddenFill xmlns:a14="http://schemas.microsoft.com/office/drawing/2010/main">
              <a:solidFill>
                <a:srgbClr val="FFFF00"/>
              </a:solidFill>
            </a14:hiddenFill>
          </a:ext>
        </a:extLst>
      </a:spPr>
      <a:bodyPr vert="horz" wrap="square" lIns="91440" tIns="118800" rIns="91440" bIns="118800" numCol="1" anchor="ctr" anchorCtr="0" compatLnSpc="1">
        <a:prstTxWarp prst="textNoShape">
          <a:avLst/>
        </a:prstTxWarp>
        <a:spAutoFit/>
      </a:bodyPr>
      <a:lstStyle>
        <a:defPPr marL="193675" marR="0" indent="-192088" algn="l" defTabSz="895350" rtl="0" eaLnBrk="1" fontAlgn="base" latinLnBrk="0" hangingPunct="1">
          <a:lnSpc>
            <a:spcPct val="100000"/>
          </a:lnSpc>
          <a:spcBef>
            <a:spcPct val="50000"/>
          </a:spcBef>
          <a:spcAft>
            <a:spcPct val="50000"/>
          </a:spcAft>
          <a:buClr>
            <a:schemeClr val="tx2"/>
          </a:buClr>
          <a:buSzPct val="125000"/>
          <a:buFont typeface="Arial" charset="0"/>
          <a:buChar char="▪"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rgbClr val="B2B2B2">
              <a:alpha val="50000"/>
            </a:srgbClr>
          </a:outerShdw>
        </a:effectLst>
        <a:extLst>
          <a:ext uri="{909E8E84-426E-40dd-AFC4-6F175D3DCCD1}">
            <a14:hiddenFill xmlns:a14="http://schemas.microsoft.com/office/drawing/2010/main">
              <a:solidFill>
                <a:srgbClr val="FFFF00"/>
              </a:solidFill>
            </a14:hiddenFill>
          </a:ext>
        </a:extLst>
      </a:spPr>
      <a:bodyPr vert="horz" wrap="square" lIns="91440" tIns="118800" rIns="91440" bIns="118800" numCol="1" anchor="ctr" anchorCtr="0" compatLnSpc="1">
        <a:prstTxWarp prst="textNoShape">
          <a:avLst/>
        </a:prstTxWarp>
        <a:spAutoFit/>
      </a:bodyPr>
      <a:lstStyle>
        <a:defPPr marL="193675" marR="0" indent="-192088" algn="l" defTabSz="895350" rtl="0" eaLnBrk="1" fontAlgn="base" latinLnBrk="0" hangingPunct="1">
          <a:lnSpc>
            <a:spcPct val="100000"/>
          </a:lnSpc>
          <a:spcBef>
            <a:spcPct val="50000"/>
          </a:spcBef>
          <a:spcAft>
            <a:spcPct val="50000"/>
          </a:spcAft>
          <a:buClr>
            <a:schemeClr val="tx2"/>
          </a:buClr>
          <a:buSzPct val="125000"/>
          <a:buFont typeface="Arial" charset="0"/>
          <a:buChar char="▪"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CFFCC"/>
        </a:accent1>
        <a:accent2>
          <a:srgbClr val="66FF66"/>
        </a:accent2>
        <a:accent3>
          <a:srgbClr val="FFFFFF"/>
        </a:accent3>
        <a:accent4>
          <a:srgbClr val="000000"/>
        </a:accent4>
        <a:accent5>
          <a:srgbClr val="E2FFE2"/>
        </a:accent5>
        <a:accent6>
          <a:srgbClr val="5CE75C"/>
        </a:accent6>
        <a:hlink>
          <a:srgbClr val="33CC33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itle - Center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A312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CEAA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Center">
      <a:majorFont>
        <a:latin typeface="Trade Gothic LT Bold"/>
        <a:ea typeface="ヒラギノ角ゴ ProN W6"/>
        <a:cs typeface="ヒラギノ角ゴ ProN W6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Cen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6</TotalTime>
  <Words>1619</Words>
  <Application>Microsoft Macintosh PowerPoint</Application>
  <PresentationFormat>On-screen Show (4:3)</PresentationFormat>
  <Paragraphs>610</Paragraphs>
  <Slides>39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43" baseType="lpstr">
      <vt:lpstr>Blank</vt:lpstr>
      <vt:lpstr>Title - Center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liable monthly data on progress </vt:lpstr>
      <vt:lpstr>Reliable monthly dashboards Priority 4: Expand the impact of PEF - actions have been updated to reflect current activities</vt:lpstr>
      <vt:lpstr>PowerPoint Presentation</vt:lpstr>
      <vt:lpstr>PowerPoint Presentation</vt:lpstr>
      <vt:lpstr>A new day is dawning on education in Punjab</vt:lpstr>
      <vt:lpstr>The education system is now being effectively managed</vt:lpstr>
      <vt:lpstr>PowerPoint Presentation</vt:lpstr>
      <vt:lpstr>The biggest challenge remains in rural areas and among girls</vt:lpstr>
      <vt:lpstr>In 2013, our focus will need to be on the South</vt:lpstr>
      <vt:lpstr>Student attendance has reached a new high, above the 2013 target</vt:lpstr>
      <vt:lpstr>PowerPoint Presentation</vt:lpstr>
      <vt:lpstr>32 districts are on or above trajectory</vt:lpstr>
      <vt:lpstr>Facilities is at a new high, 1.1% short of the 2013 target</vt:lpstr>
      <vt:lpstr>PowerPoint Presentation</vt:lpstr>
      <vt:lpstr>Teacher presence is at a new high, above the 2013 target</vt:lpstr>
      <vt:lpstr>PowerPoint Presentation</vt:lpstr>
      <vt:lpstr>The teacher quality pilots had a major impact in one mon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earson Shared Servic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ent attendance is at a new high, above the 2013 target</dc:title>
  <dc:creator>Mac Support</dc:creator>
  <cp:lastModifiedBy>Mac Support</cp:lastModifiedBy>
  <cp:revision>45</cp:revision>
  <dcterms:created xsi:type="dcterms:W3CDTF">2013-03-05T11:11:56Z</dcterms:created>
  <dcterms:modified xsi:type="dcterms:W3CDTF">2013-05-24T10:39:35Z</dcterms:modified>
</cp:coreProperties>
</file>